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7" r:id="rId5"/>
  </p:sldMasterIdLst>
  <p:notesMasterIdLst>
    <p:notesMasterId r:id="rId16"/>
  </p:notesMasterIdLst>
  <p:sldIdLst>
    <p:sldId id="3065" r:id="rId6"/>
    <p:sldId id="3073" r:id="rId7"/>
    <p:sldId id="3074" r:id="rId8"/>
    <p:sldId id="3075" r:id="rId9"/>
    <p:sldId id="3076" r:id="rId10"/>
    <p:sldId id="3077" r:id="rId11"/>
    <p:sldId id="3083" r:id="rId12"/>
    <p:sldId id="3084" r:id="rId13"/>
    <p:sldId id="3082" r:id="rId14"/>
    <p:sldId id="3085" r:id="rId15"/>
  </p:sldIdLst>
  <p:sldSz cx="12192000" cy="6858000"/>
  <p:notesSz cx="7086600" cy="9372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8F92B3-13D3-49A6-B1C6-3669D0B5B1D0}" v="18" dt="2025-05-12T13:39:19.2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79" autoAdjust="0"/>
    <p:restoredTop sz="94660"/>
  </p:normalViewPr>
  <p:slideViewPr>
    <p:cSldViewPr snapToGrid="0">
      <p:cViewPr varScale="1">
        <p:scale>
          <a:sx n="59" d="100"/>
          <a:sy n="59" d="100"/>
        </p:scale>
        <p:origin x="9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ila Bergen" userId="37098159-9a62-43ac-a8bb-3a5b657132da" providerId="ADAL" clId="{B68F92B3-13D3-49A6-B1C6-3669D0B5B1D0}"/>
    <pc:docChg chg="undo custSel addSld delSld modSld">
      <pc:chgData name="Sheila Bergen" userId="37098159-9a62-43ac-a8bb-3a5b657132da" providerId="ADAL" clId="{B68F92B3-13D3-49A6-B1C6-3669D0B5B1D0}" dt="2025-05-14T11:28:12.290" v="3029" actId="6549"/>
      <pc:docMkLst>
        <pc:docMk/>
      </pc:docMkLst>
      <pc:sldChg chg="del">
        <pc:chgData name="Sheila Bergen" userId="37098159-9a62-43ac-a8bb-3a5b657132da" providerId="ADAL" clId="{B68F92B3-13D3-49A6-B1C6-3669D0B5B1D0}" dt="2025-05-02T16:19:13.387" v="329" actId="2696"/>
        <pc:sldMkLst>
          <pc:docMk/>
          <pc:sldMk cId="1930659914" sldId="259"/>
        </pc:sldMkLst>
      </pc:sldChg>
      <pc:sldChg chg="delSp modSp del mod">
        <pc:chgData name="Sheila Bergen" userId="37098159-9a62-43ac-a8bb-3a5b657132da" providerId="ADAL" clId="{B68F92B3-13D3-49A6-B1C6-3669D0B5B1D0}" dt="2025-05-02T17:29:50.488" v="1458" actId="2696"/>
        <pc:sldMkLst>
          <pc:docMk/>
          <pc:sldMk cId="820311220" sldId="281"/>
        </pc:sldMkLst>
        <pc:spChg chg="mod">
          <ac:chgData name="Sheila Bergen" userId="37098159-9a62-43ac-a8bb-3a5b657132da" providerId="ADAL" clId="{B68F92B3-13D3-49A6-B1C6-3669D0B5B1D0}" dt="2025-05-02T17:29:44.704" v="1457" actId="20577"/>
          <ac:spMkLst>
            <pc:docMk/>
            <pc:sldMk cId="820311220" sldId="281"/>
            <ac:spMk id="2" creationId="{19222ADE-FF48-4C2D-A733-E740D658091A}"/>
          </ac:spMkLst>
        </pc:spChg>
        <pc:spChg chg="del mod">
          <ac:chgData name="Sheila Bergen" userId="37098159-9a62-43ac-a8bb-3a5b657132da" providerId="ADAL" clId="{B68F92B3-13D3-49A6-B1C6-3669D0B5B1D0}" dt="2025-05-01T17:58:59.142" v="171" actId="21"/>
          <ac:spMkLst>
            <pc:docMk/>
            <pc:sldMk cId="820311220" sldId="281"/>
            <ac:spMk id="3" creationId="{706FB993-1AFD-409F-B9E2-62CC1D70391A}"/>
          </ac:spMkLst>
        </pc:spChg>
        <pc:spChg chg="del">
          <ac:chgData name="Sheila Bergen" userId="37098159-9a62-43ac-a8bb-3a5b657132da" providerId="ADAL" clId="{B68F92B3-13D3-49A6-B1C6-3669D0B5B1D0}" dt="2025-05-01T17:58:43.348" v="134" actId="21"/>
          <ac:spMkLst>
            <pc:docMk/>
            <pc:sldMk cId="820311220" sldId="281"/>
            <ac:spMk id="9" creationId="{65AEAF9F-2B46-4CEC-87FE-DD7AADE0B678}"/>
          </ac:spMkLst>
        </pc:spChg>
        <pc:spChg chg="del">
          <ac:chgData name="Sheila Bergen" userId="37098159-9a62-43ac-a8bb-3a5b657132da" providerId="ADAL" clId="{B68F92B3-13D3-49A6-B1C6-3669D0B5B1D0}" dt="2025-05-01T17:59:13.374" v="173" actId="21"/>
          <ac:spMkLst>
            <pc:docMk/>
            <pc:sldMk cId="820311220" sldId="281"/>
            <ac:spMk id="12" creationId="{F44AB162-10C8-409D-93B9-A5DE199F46F0}"/>
          </ac:spMkLst>
        </pc:spChg>
        <pc:cxnChg chg="del">
          <ac:chgData name="Sheila Bergen" userId="37098159-9a62-43ac-a8bb-3a5b657132da" providerId="ADAL" clId="{B68F92B3-13D3-49A6-B1C6-3669D0B5B1D0}" dt="2025-05-01T17:59:07.432" v="172" actId="21"/>
          <ac:cxnSpMkLst>
            <pc:docMk/>
            <pc:sldMk cId="820311220" sldId="281"/>
            <ac:cxnSpMk id="6" creationId="{585CFFCA-3386-41CA-92AC-E1C3C66A5357}"/>
          </ac:cxnSpMkLst>
        </pc:cxnChg>
        <pc:cxnChg chg="del">
          <ac:chgData name="Sheila Bergen" userId="37098159-9a62-43ac-a8bb-3a5b657132da" providerId="ADAL" clId="{B68F92B3-13D3-49A6-B1C6-3669D0B5B1D0}" dt="2025-05-02T14:50:39.525" v="174" actId="21"/>
          <ac:cxnSpMkLst>
            <pc:docMk/>
            <pc:sldMk cId="820311220" sldId="281"/>
            <ac:cxnSpMk id="8" creationId="{CA60ED85-EADB-4BD5-8422-1F7857F92D19}"/>
          </ac:cxnSpMkLst>
        </pc:cxnChg>
        <pc:cxnChg chg="del">
          <ac:chgData name="Sheila Bergen" userId="37098159-9a62-43ac-a8bb-3a5b657132da" providerId="ADAL" clId="{B68F92B3-13D3-49A6-B1C6-3669D0B5B1D0}" dt="2025-05-02T14:50:43.519" v="175" actId="21"/>
          <ac:cxnSpMkLst>
            <pc:docMk/>
            <pc:sldMk cId="820311220" sldId="281"/>
            <ac:cxnSpMk id="14" creationId="{A6CC10BF-3253-4C35-809B-DDC021907E76}"/>
          </ac:cxnSpMkLst>
        </pc:cxnChg>
        <pc:cxnChg chg="del">
          <ac:chgData name="Sheila Bergen" userId="37098159-9a62-43ac-a8bb-3a5b657132da" providerId="ADAL" clId="{B68F92B3-13D3-49A6-B1C6-3669D0B5B1D0}" dt="2025-05-02T14:50:49.840" v="176" actId="21"/>
          <ac:cxnSpMkLst>
            <pc:docMk/>
            <pc:sldMk cId="820311220" sldId="281"/>
            <ac:cxnSpMk id="22" creationId="{72AAE6A6-10F8-45A7-BA02-A2AB14976640}"/>
          </ac:cxnSpMkLst>
        </pc:cxnChg>
      </pc:sldChg>
      <pc:sldChg chg="delSp modSp del mod">
        <pc:chgData name="Sheila Bergen" userId="37098159-9a62-43ac-a8bb-3a5b657132da" providerId="ADAL" clId="{B68F92B3-13D3-49A6-B1C6-3669D0B5B1D0}" dt="2025-05-02T16:18:45.410" v="323" actId="2696"/>
        <pc:sldMkLst>
          <pc:docMk/>
          <pc:sldMk cId="3950581913" sldId="282"/>
        </pc:sldMkLst>
        <pc:spChg chg="mod">
          <ac:chgData name="Sheila Bergen" userId="37098159-9a62-43ac-a8bb-3a5b657132da" providerId="ADAL" clId="{B68F92B3-13D3-49A6-B1C6-3669D0B5B1D0}" dt="2025-05-01T17:58:29.529" v="133" actId="14100"/>
          <ac:spMkLst>
            <pc:docMk/>
            <pc:sldMk cId="3950581913" sldId="282"/>
            <ac:spMk id="2" creationId="{CBF3B377-AEB9-439E-B751-C4191E5AA6F5}"/>
          </ac:spMkLst>
        </pc:spChg>
        <pc:spChg chg="del mod">
          <ac:chgData name="Sheila Bergen" userId="37098159-9a62-43ac-a8bb-3a5b657132da" providerId="ADAL" clId="{B68F92B3-13D3-49A6-B1C6-3669D0B5B1D0}" dt="2025-05-01T17:58:18.990" v="130" actId="21"/>
          <ac:spMkLst>
            <pc:docMk/>
            <pc:sldMk cId="3950581913" sldId="282"/>
            <ac:spMk id="6" creationId="{0D573229-1211-4AF9-9583-A9C2EB87F290}"/>
          </ac:spMkLst>
        </pc:spChg>
      </pc:sldChg>
      <pc:sldChg chg="del">
        <pc:chgData name="Sheila Bergen" userId="37098159-9a62-43ac-a8bb-3a5b657132da" providerId="ADAL" clId="{B68F92B3-13D3-49A6-B1C6-3669D0B5B1D0}" dt="2025-05-02T16:19:06.583" v="327" actId="2696"/>
        <pc:sldMkLst>
          <pc:docMk/>
          <pc:sldMk cId="1216374814" sldId="286"/>
        </pc:sldMkLst>
      </pc:sldChg>
      <pc:sldChg chg="delSp modSp mod">
        <pc:chgData name="Sheila Bergen" userId="37098159-9a62-43ac-a8bb-3a5b657132da" providerId="ADAL" clId="{B68F92B3-13D3-49A6-B1C6-3669D0B5B1D0}" dt="2025-05-09T14:02:34.054" v="1554" actId="20577"/>
        <pc:sldMkLst>
          <pc:docMk/>
          <pc:sldMk cId="3997987595" sldId="3065"/>
        </pc:sldMkLst>
        <pc:spChg chg="mod">
          <ac:chgData name="Sheila Bergen" userId="37098159-9a62-43ac-a8bb-3a5b657132da" providerId="ADAL" clId="{B68F92B3-13D3-49A6-B1C6-3669D0B5B1D0}" dt="2025-05-09T14:02:34.054" v="1554" actId="20577"/>
          <ac:spMkLst>
            <pc:docMk/>
            <pc:sldMk cId="3997987595" sldId="3065"/>
            <ac:spMk id="2" creationId="{7391AD19-D819-4CB0-A336-68050C82CAEF}"/>
          </ac:spMkLst>
        </pc:spChg>
        <pc:spChg chg="del">
          <ac:chgData name="Sheila Bergen" userId="37098159-9a62-43ac-a8bb-3a5b657132da" providerId="ADAL" clId="{B68F92B3-13D3-49A6-B1C6-3669D0B5B1D0}" dt="2025-05-01T17:57:21.520" v="68" actId="21"/>
          <ac:spMkLst>
            <pc:docMk/>
            <pc:sldMk cId="3997987595" sldId="3065"/>
            <ac:spMk id="3" creationId="{F50FA8D1-4090-42F5-A771-ACCA34B1FC18}"/>
          </ac:spMkLst>
        </pc:spChg>
      </pc:sldChg>
      <pc:sldChg chg="del">
        <pc:chgData name="Sheila Bergen" userId="37098159-9a62-43ac-a8bb-3a5b657132da" providerId="ADAL" clId="{B68F92B3-13D3-49A6-B1C6-3669D0B5B1D0}" dt="2025-05-02T16:19:15.946" v="330" actId="2696"/>
        <pc:sldMkLst>
          <pc:docMk/>
          <pc:sldMk cId="3529092707" sldId="3066"/>
        </pc:sldMkLst>
      </pc:sldChg>
      <pc:sldChg chg="del">
        <pc:chgData name="Sheila Bergen" userId="37098159-9a62-43ac-a8bb-3a5b657132da" providerId="ADAL" clId="{B68F92B3-13D3-49A6-B1C6-3669D0B5B1D0}" dt="2025-05-02T16:19:10.786" v="328" actId="2696"/>
        <pc:sldMkLst>
          <pc:docMk/>
          <pc:sldMk cId="2719423366" sldId="3072"/>
        </pc:sldMkLst>
      </pc:sldChg>
      <pc:sldChg chg="addSp delSp modSp add mod modNotesTx">
        <pc:chgData name="Sheila Bergen" userId="37098159-9a62-43ac-a8bb-3a5b657132da" providerId="ADAL" clId="{B68F92B3-13D3-49A6-B1C6-3669D0B5B1D0}" dt="2025-05-12T13:45:19.478" v="2943" actId="5793"/>
        <pc:sldMkLst>
          <pc:docMk/>
          <pc:sldMk cId="1106779962" sldId="3073"/>
        </pc:sldMkLst>
        <pc:spChg chg="add del mod">
          <ac:chgData name="Sheila Bergen" userId="37098159-9a62-43ac-a8bb-3a5b657132da" providerId="ADAL" clId="{B68F92B3-13D3-49A6-B1C6-3669D0B5B1D0}" dt="2025-05-02T16:20:45.173" v="361" actId="14100"/>
          <ac:spMkLst>
            <pc:docMk/>
            <pc:sldMk cId="1106779962" sldId="3073"/>
            <ac:spMk id="2" creationId="{7391AD19-D819-4CB0-A336-68050C82CAEF}"/>
          </ac:spMkLst>
        </pc:spChg>
        <pc:spChg chg="add del mod">
          <ac:chgData name="Sheila Bergen" userId="37098159-9a62-43ac-a8bb-3a5b657132da" providerId="ADAL" clId="{B68F92B3-13D3-49A6-B1C6-3669D0B5B1D0}" dt="2025-05-02T15:49:17.889" v="246" actId="21"/>
          <ac:spMkLst>
            <pc:docMk/>
            <pc:sldMk cId="1106779962" sldId="3073"/>
            <ac:spMk id="6" creationId="{68260C52-21B7-D1C9-DB79-C0E9E58C6867}"/>
          </ac:spMkLst>
        </pc:spChg>
        <pc:picChg chg="add mod">
          <ac:chgData name="Sheila Bergen" userId="37098159-9a62-43ac-a8bb-3a5b657132da" providerId="ADAL" clId="{B68F92B3-13D3-49A6-B1C6-3669D0B5B1D0}" dt="2025-05-02T16:17:14.886" v="322" actId="1076"/>
          <ac:picMkLst>
            <pc:docMk/>
            <pc:sldMk cId="1106779962" sldId="3073"/>
            <ac:picMk id="8" creationId="{E8E26049-2C1F-89C2-AFFF-0BF39E8E1D4A}"/>
          </ac:picMkLst>
        </pc:picChg>
        <pc:picChg chg="add mod">
          <ac:chgData name="Sheila Bergen" userId="37098159-9a62-43ac-a8bb-3a5b657132da" providerId="ADAL" clId="{B68F92B3-13D3-49A6-B1C6-3669D0B5B1D0}" dt="2025-05-02T16:17:09.371" v="321" actId="1076"/>
          <ac:picMkLst>
            <pc:docMk/>
            <pc:sldMk cId="1106779962" sldId="3073"/>
            <ac:picMk id="10" creationId="{9220C16E-1FB8-58F7-2704-4202CABFB75F}"/>
          </ac:picMkLst>
        </pc:picChg>
        <pc:picChg chg="add mod">
          <ac:chgData name="Sheila Bergen" userId="37098159-9a62-43ac-a8bb-3a5b657132da" providerId="ADAL" clId="{B68F92B3-13D3-49A6-B1C6-3669D0B5B1D0}" dt="2025-05-02T16:19:48.930" v="332" actId="931"/>
          <ac:picMkLst>
            <pc:docMk/>
            <pc:sldMk cId="1106779962" sldId="3073"/>
            <ac:picMk id="12" creationId="{6ECBFE8D-76F0-0B85-6438-D7AA73C26863}"/>
          </ac:picMkLst>
        </pc:picChg>
      </pc:sldChg>
      <pc:sldChg chg="addSp delSp modSp add mod modNotesTx">
        <pc:chgData name="Sheila Bergen" userId="37098159-9a62-43ac-a8bb-3a5b657132da" providerId="ADAL" clId="{B68F92B3-13D3-49A6-B1C6-3669D0B5B1D0}" dt="2025-05-14T11:28:12.290" v="3029" actId="6549"/>
        <pc:sldMkLst>
          <pc:docMk/>
          <pc:sldMk cId="1849604442" sldId="3074"/>
        </pc:sldMkLst>
        <pc:spChg chg="mod">
          <ac:chgData name="Sheila Bergen" userId="37098159-9a62-43ac-a8bb-3a5b657132da" providerId="ADAL" clId="{B68F92B3-13D3-49A6-B1C6-3669D0B5B1D0}" dt="2025-05-02T16:20:35.228" v="358" actId="14100"/>
          <ac:spMkLst>
            <pc:docMk/>
            <pc:sldMk cId="1849604442" sldId="3074"/>
            <ac:spMk id="2" creationId="{7391AD19-D819-4CB0-A336-68050C82CAEF}"/>
          </ac:spMkLst>
        </pc:spChg>
        <pc:picChg chg="add mod">
          <ac:chgData name="Sheila Bergen" userId="37098159-9a62-43ac-a8bb-3a5b657132da" providerId="ADAL" clId="{B68F92B3-13D3-49A6-B1C6-3669D0B5B1D0}" dt="2025-05-02T16:20:55.720" v="362" actId="1076"/>
          <ac:picMkLst>
            <pc:docMk/>
            <pc:sldMk cId="1849604442" sldId="3074"/>
            <ac:picMk id="6" creationId="{C9FA63F5-0A10-CCFB-48A6-A55AC43EE8BE}"/>
          </ac:picMkLst>
        </pc:picChg>
        <pc:picChg chg="del">
          <ac:chgData name="Sheila Bergen" userId="37098159-9a62-43ac-a8bb-3a5b657132da" providerId="ADAL" clId="{B68F92B3-13D3-49A6-B1C6-3669D0B5B1D0}" dt="2025-05-02T16:18:57.624" v="325" actId="21"/>
          <ac:picMkLst>
            <pc:docMk/>
            <pc:sldMk cId="1849604442" sldId="3074"/>
            <ac:picMk id="8" creationId="{E8E26049-2C1F-89C2-AFFF-0BF39E8E1D4A}"/>
          </ac:picMkLst>
        </pc:picChg>
        <pc:picChg chg="del">
          <ac:chgData name="Sheila Bergen" userId="37098159-9a62-43ac-a8bb-3a5b657132da" providerId="ADAL" clId="{B68F92B3-13D3-49A6-B1C6-3669D0B5B1D0}" dt="2025-05-02T16:19:00.585" v="326" actId="21"/>
          <ac:picMkLst>
            <pc:docMk/>
            <pc:sldMk cId="1849604442" sldId="3074"/>
            <ac:picMk id="10" creationId="{9220C16E-1FB8-58F7-2704-4202CABFB75F}"/>
          </ac:picMkLst>
        </pc:picChg>
      </pc:sldChg>
      <pc:sldChg chg="addSp modSp add mod modNotesTx">
        <pc:chgData name="Sheila Bergen" userId="37098159-9a62-43ac-a8bb-3a5b657132da" providerId="ADAL" clId="{B68F92B3-13D3-49A6-B1C6-3669D0B5B1D0}" dt="2025-05-09T14:03:59.957" v="1556" actId="20577"/>
        <pc:sldMkLst>
          <pc:docMk/>
          <pc:sldMk cId="559525693" sldId="3075"/>
        </pc:sldMkLst>
        <pc:spChg chg="mod">
          <ac:chgData name="Sheila Bergen" userId="37098159-9a62-43ac-a8bb-3a5b657132da" providerId="ADAL" clId="{B68F92B3-13D3-49A6-B1C6-3669D0B5B1D0}" dt="2025-05-02T16:24:48.599" v="408" actId="14100"/>
          <ac:spMkLst>
            <pc:docMk/>
            <pc:sldMk cId="559525693" sldId="3075"/>
            <ac:spMk id="2" creationId="{7391AD19-D819-4CB0-A336-68050C82CAEF}"/>
          </ac:spMkLst>
        </pc:spChg>
        <pc:picChg chg="add mod">
          <ac:chgData name="Sheila Bergen" userId="37098159-9a62-43ac-a8bb-3a5b657132da" providerId="ADAL" clId="{B68F92B3-13D3-49A6-B1C6-3669D0B5B1D0}" dt="2025-05-02T16:24:55.181" v="410" actId="1076"/>
          <ac:picMkLst>
            <pc:docMk/>
            <pc:sldMk cId="559525693" sldId="3075"/>
            <ac:picMk id="6" creationId="{9555B32D-07F8-1A9B-F053-F2E45152E87F}"/>
          </ac:picMkLst>
        </pc:picChg>
      </pc:sldChg>
      <pc:sldChg chg="addSp modSp add mod modNotesTx">
        <pc:chgData name="Sheila Bergen" userId="37098159-9a62-43ac-a8bb-3a5b657132da" providerId="ADAL" clId="{B68F92B3-13D3-49A6-B1C6-3669D0B5B1D0}" dt="2025-05-09T14:05:14.162" v="1635" actId="6549"/>
        <pc:sldMkLst>
          <pc:docMk/>
          <pc:sldMk cId="362453093" sldId="3076"/>
        </pc:sldMkLst>
        <pc:spChg chg="mod">
          <ac:chgData name="Sheila Bergen" userId="37098159-9a62-43ac-a8bb-3a5b657132da" providerId="ADAL" clId="{B68F92B3-13D3-49A6-B1C6-3669D0B5B1D0}" dt="2025-05-02T16:25:05.394" v="412" actId="14100"/>
          <ac:spMkLst>
            <pc:docMk/>
            <pc:sldMk cId="362453093" sldId="3076"/>
            <ac:spMk id="2" creationId="{7391AD19-D819-4CB0-A336-68050C82CAEF}"/>
          </ac:spMkLst>
        </pc:spChg>
        <pc:picChg chg="add mod">
          <ac:chgData name="Sheila Bergen" userId="37098159-9a62-43ac-a8bb-3a5b657132da" providerId="ADAL" clId="{B68F92B3-13D3-49A6-B1C6-3669D0B5B1D0}" dt="2025-05-02T16:32:44.524" v="433" actId="14100"/>
          <ac:picMkLst>
            <pc:docMk/>
            <pc:sldMk cId="362453093" sldId="3076"/>
            <ac:picMk id="6" creationId="{FF7D71A2-D4F9-7C8D-EAE0-2E42976F7EBE}"/>
          </ac:picMkLst>
        </pc:picChg>
      </pc:sldChg>
      <pc:sldChg chg="addSp modSp add mod modNotesTx">
        <pc:chgData name="Sheila Bergen" userId="37098159-9a62-43ac-a8bb-3a5b657132da" providerId="ADAL" clId="{B68F92B3-13D3-49A6-B1C6-3669D0B5B1D0}" dt="2025-05-09T14:07:34.379" v="1706" actId="6549"/>
        <pc:sldMkLst>
          <pc:docMk/>
          <pc:sldMk cId="2474430298" sldId="3077"/>
        </pc:sldMkLst>
        <pc:spChg chg="mod">
          <ac:chgData name="Sheila Bergen" userId="37098159-9a62-43ac-a8bb-3a5b657132da" providerId="ADAL" clId="{B68F92B3-13D3-49A6-B1C6-3669D0B5B1D0}" dt="2025-05-02T17:15:26.576" v="456" actId="14100"/>
          <ac:spMkLst>
            <pc:docMk/>
            <pc:sldMk cId="2474430298" sldId="3077"/>
            <ac:spMk id="2" creationId="{7391AD19-D819-4CB0-A336-68050C82CAEF}"/>
          </ac:spMkLst>
        </pc:spChg>
        <pc:picChg chg="add mod">
          <ac:chgData name="Sheila Bergen" userId="37098159-9a62-43ac-a8bb-3a5b657132da" providerId="ADAL" clId="{B68F92B3-13D3-49A6-B1C6-3669D0B5B1D0}" dt="2025-05-02T17:15:53.758" v="467" actId="14100"/>
          <ac:picMkLst>
            <pc:docMk/>
            <pc:sldMk cId="2474430298" sldId="3077"/>
            <ac:picMk id="6" creationId="{355D7F62-7FE8-1AD4-715C-056106DCD9B7}"/>
          </ac:picMkLst>
        </pc:picChg>
      </pc:sldChg>
      <pc:sldChg chg="addSp modSp add del mod modNotesTx">
        <pc:chgData name="Sheila Bergen" userId="37098159-9a62-43ac-a8bb-3a5b657132da" providerId="ADAL" clId="{B68F92B3-13D3-49A6-B1C6-3669D0B5B1D0}" dt="2025-05-09T16:31:51.154" v="2799" actId="2696"/>
        <pc:sldMkLst>
          <pc:docMk/>
          <pc:sldMk cId="1734206258" sldId="3078"/>
        </pc:sldMkLst>
        <pc:spChg chg="mod">
          <ac:chgData name="Sheila Bergen" userId="37098159-9a62-43ac-a8bb-3a5b657132da" providerId="ADAL" clId="{B68F92B3-13D3-49A6-B1C6-3669D0B5B1D0}" dt="2025-05-02T17:16:54.563" v="493" actId="14100"/>
          <ac:spMkLst>
            <pc:docMk/>
            <pc:sldMk cId="1734206258" sldId="3078"/>
            <ac:spMk id="2" creationId="{7391AD19-D819-4CB0-A336-68050C82CAEF}"/>
          </ac:spMkLst>
        </pc:spChg>
        <pc:picChg chg="add mod">
          <ac:chgData name="Sheila Bergen" userId="37098159-9a62-43ac-a8bb-3a5b657132da" providerId="ADAL" clId="{B68F92B3-13D3-49A6-B1C6-3669D0B5B1D0}" dt="2025-05-02T17:16:45.678" v="491" actId="1076"/>
          <ac:picMkLst>
            <pc:docMk/>
            <pc:sldMk cId="1734206258" sldId="3078"/>
            <ac:picMk id="6" creationId="{EFD9BF89-3D60-B504-32DD-10AD84818852}"/>
          </ac:picMkLst>
        </pc:picChg>
      </pc:sldChg>
      <pc:sldChg chg="add del">
        <pc:chgData name="Sheila Bergen" userId="37098159-9a62-43ac-a8bb-3a5b657132da" providerId="ADAL" clId="{B68F92B3-13D3-49A6-B1C6-3669D0B5B1D0}" dt="2025-05-12T13:39:25.772" v="2874" actId="2696"/>
        <pc:sldMkLst>
          <pc:docMk/>
          <pc:sldMk cId="262716199" sldId="3079"/>
        </pc:sldMkLst>
      </pc:sldChg>
      <pc:sldChg chg="add del">
        <pc:chgData name="Sheila Bergen" userId="37098159-9a62-43ac-a8bb-3a5b657132da" providerId="ADAL" clId="{B68F92B3-13D3-49A6-B1C6-3669D0B5B1D0}" dt="2025-05-12T13:39:29.003" v="2875" actId="2696"/>
        <pc:sldMkLst>
          <pc:docMk/>
          <pc:sldMk cId="334421126" sldId="3080"/>
        </pc:sldMkLst>
      </pc:sldChg>
      <pc:sldChg chg="addSp modSp add del mod">
        <pc:chgData name="Sheila Bergen" userId="37098159-9a62-43ac-a8bb-3a5b657132da" providerId="ADAL" clId="{B68F92B3-13D3-49A6-B1C6-3669D0B5B1D0}" dt="2025-05-12T13:39:34.717" v="2876" actId="2696"/>
        <pc:sldMkLst>
          <pc:docMk/>
          <pc:sldMk cId="231885285" sldId="3081"/>
        </pc:sldMkLst>
        <pc:spChg chg="add mod">
          <ac:chgData name="Sheila Bergen" userId="37098159-9a62-43ac-a8bb-3a5b657132da" providerId="ADAL" clId="{B68F92B3-13D3-49A6-B1C6-3669D0B5B1D0}" dt="2025-05-02T17:31:46.994" v="1484" actId="14100"/>
          <ac:spMkLst>
            <pc:docMk/>
            <pc:sldMk cId="231885285" sldId="3081"/>
            <ac:spMk id="3" creationId="{FB54BC2E-5CC6-83AD-CF8E-5AE986D39809}"/>
          </ac:spMkLst>
        </pc:spChg>
      </pc:sldChg>
      <pc:sldChg chg="addSp modSp mod">
        <pc:chgData name="Sheila Bergen" userId="37098159-9a62-43ac-a8bb-3a5b657132da" providerId="ADAL" clId="{B68F92B3-13D3-49A6-B1C6-3669D0B5B1D0}" dt="2025-05-12T13:48:07.518" v="2990" actId="20577"/>
        <pc:sldMkLst>
          <pc:docMk/>
          <pc:sldMk cId="4104313246" sldId="3082"/>
        </pc:sldMkLst>
        <pc:spChg chg="add mod">
          <ac:chgData name="Sheila Bergen" userId="37098159-9a62-43ac-a8bb-3a5b657132da" providerId="ADAL" clId="{B68F92B3-13D3-49A6-B1C6-3669D0B5B1D0}" dt="2025-05-12T13:48:07.518" v="2990" actId="20577"/>
          <ac:spMkLst>
            <pc:docMk/>
            <pc:sldMk cId="4104313246" sldId="3082"/>
            <ac:spMk id="3" creationId="{C462E586-2B1D-1FFF-C470-15AFBD1718EE}"/>
          </ac:spMkLst>
        </pc:spChg>
      </pc:sldChg>
      <pc:sldChg chg="addSp modSp mod modNotesTx">
        <pc:chgData name="Sheila Bergen" userId="37098159-9a62-43ac-a8bb-3a5b657132da" providerId="ADAL" clId="{B68F92B3-13D3-49A6-B1C6-3669D0B5B1D0}" dt="2025-05-09T16:39:02.472" v="2806"/>
        <pc:sldMkLst>
          <pc:docMk/>
          <pc:sldMk cId="2429771810" sldId="3083"/>
        </pc:sldMkLst>
        <pc:spChg chg="mod">
          <ac:chgData name="Sheila Bergen" userId="37098159-9a62-43ac-a8bb-3a5b657132da" providerId="ADAL" clId="{B68F92B3-13D3-49A6-B1C6-3669D0B5B1D0}" dt="2025-05-09T16:38:34.464" v="2802" actId="1076"/>
          <ac:spMkLst>
            <pc:docMk/>
            <pc:sldMk cId="2429771810" sldId="3083"/>
            <ac:spMk id="2" creationId="{7391AD19-D819-4CB0-A336-68050C82CAEF}"/>
          </ac:spMkLst>
        </pc:spChg>
        <pc:picChg chg="add mod">
          <ac:chgData name="Sheila Bergen" userId="37098159-9a62-43ac-a8bb-3a5b657132da" providerId="ADAL" clId="{B68F92B3-13D3-49A6-B1C6-3669D0B5B1D0}" dt="2025-05-09T16:38:41.960" v="2804" actId="14100"/>
          <ac:picMkLst>
            <pc:docMk/>
            <pc:sldMk cId="2429771810" sldId="3083"/>
            <ac:picMk id="3" creationId="{14276F05-8610-72CD-C463-27F79988A0B0}"/>
          </ac:picMkLst>
        </pc:picChg>
      </pc:sldChg>
      <pc:sldChg chg="modNotesTx">
        <pc:chgData name="Sheila Bergen" userId="37098159-9a62-43ac-a8bb-3a5b657132da" providerId="ADAL" clId="{B68F92B3-13D3-49A6-B1C6-3669D0B5B1D0}" dt="2025-05-09T16:39:40.755" v="2819" actId="20577"/>
        <pc:sldMkLst>
          <pc:docMk/>
          <pc:sldMk cId="1089296927" sldId="308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0860" cy="470258"/>
          </a:xfrm>
          <a:prstGeom prst="rect">
            <a:avLst/>
          </a:prstGeom>
        </p:spPr>
        <p:txBody>
          <a:bodyPr vert="horz" lIns="94046" tIns="47023" rIns="94046" bIns="47023" rtlCol="0"/>
          <a:lstStyle>
            <a:lvl1pPr algn="l">
              <a:defRPr sz="1200"/>
            </a:lvl1pPr>
          </a:lstStyle>
          <a:p>
            <a:endParaRPr lang="en-US"/>
          </a:p>
        </p:txBody>
      </p:sp>
      <p:sp>
        <p:nvSpPr>
          <p:cNvPr id="3" name="Date Placeholder 2"/>
          <p:cNvSpPr>
            <a:spLocks noGrp="1"/>
          </p:cNvSpPr>
          <p:nvPr>
            <p:ph type="dt" idx="1"/>
          </p:nvPr>
        </p:nvSpPr>
        <p:spPr>
          <a:xfrm>
            <a:off x="4014100" y="0"/>
            <a:ext cx="3070860" cy="470258"/>
          </a:xfrm>
          <a:prstGeom prst="rect">
            <a:avLst/>
          </a:prstGeom>
        </p:spPr>
        <p:txBody>
          <a:bodyPr vert="horz" lIns="94046" tIns="47023" rIns="94046" bIns="47023" rtlCol="0"/>
          <a:lstStyle>
            <a:lvl1pPr algn="r">
              <a:defRPr sz="1200"/>
            </a:lvl1pPr>
          </a:lstStyle>
          <a:p>
            <a:fld id="{B6A765EB-1CAE-4F85-B040-289A653F4E28}" type="datetimeFigureOut">
              <a:rPr lang="en-US" smtClean="0"/>
              <a:t>5/14/2025</a:t>
            </a:fld>
            <a:endParaRPr lang="en-US"/>
          </a:p>
        </p:txBody>
      </p:sp>
      <p:sp>
        <p:nvSpPr>
          <p:cNvPr id="4" name="Slide Image Placeholder 3"/>
          <p:cNvSpPr>
            <a:spLocks noGrp="1" noRot="1" noChangeAspect="1"/>
          </p:cNvSpPr>
          <p:nvPr>
            <p:ph type="sldImg" idx="2"/>
          </p:nvPr>
        </p:nvSpPr>
        <p:spPr>
          <a:xfrm>
            <a:off x="730250" y="1171575"/>
            <a:ext cx="5626100" cy="3163888"/>
          </a:xfrm>
          <a:prstGeom prst="rect">
            <a:avLst/>
          </a:prstGeom>
          <a:noFill/>
          <a:ln w="12700">
            <a:solidFill>
              <a:prstClr val="black"/>
            </a:solidFill>
          </a:ln>
        </p:spPr>
        <p:txBody>
          <a:bodyPr vert="horz" lIns="94046" tIns="47023" rIns="94046" bIns="47023" rtlCol="0" anchor="ctr"/>
          <a:lstStyle/>
          <a:p>
            <a:endParaRPr lang="en-US"/>
          </a:p>
        </p:txBody>
      </p:sp>
      <p:sp>
        <p:nvSpPr>
          <p:cNvPr id="5" name="Notes Placeholder 4"/>
          <p:cNvSpPr>
            <a:spLocks noGrp="1"/>
          </p:cNvSpPr>
          <p:nvPr>
            <p:ph type="body" sz="quarter" idx="3"/>
          </p:nvPr>
        </p:nvSpPr>
        <p:spPr>
          <a:xfrm>
            <a:off x="708660" y="4510564"/>
            <a:ext cx="5669280" cy="3690461"/>
          </a:xfrm>
          <a:prstGeom prst="rect">
            <a:avLst/>
          </a:prstGeom>
        </p:spPr>
        <p:txBody>
          <a:bodyPr vert="horz" lIns="94046" tIns="47023" rIns="94046" bIns="470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02344"/>
            <a:ext cx="3070860" cy="470257"/>
          </a:xfrm>
          <a:prstGeom prst="rect">
            <a:avLst/>
          </a:prstGeom>
        </p:spPr>
        <p:txBody>
          <a:bodyPr vert="horz" lIns="94046" tIns="47023" rIns="94046" bIns="47023" rtlCol="0" anchor="b"/>
          <a:lstStyle>
            <a:lvl1pPr algn="l">
              <a:defRPr sz="1200"/>
            </a:lvl1pPr>
          </a:lstStyle>
          <a:p>
            <a:endParaRPr lang="en-US"/>
          </a:p>
        </p:txBody>
      </p:sp>
      <p:sp>
        <p:nvSpPr>
          <p:cNvPr id="7" name="Slide Number Placeholder 6"/>
          <p:cNvSpPr>
            <a:spLocks noGrp="1"/>
          </p:cNvSpPr>
          <p:nvPr>
            <p:ph type="sldNum" sz="quarter" idx="5"/>
          </p:nvPr>
        </p:nvSpPr>
        <p:spPr>
          <a:xfrm>
            <a:off x="4014100" y="8902344"/>
            <a:ext cx="3070860" cy="470257"/>
          </a:xfrm>
          <a:prstGeom prst="rect">
            <a:avLst/>
          </a:prstGeom>
        </p:spPr>
        <p:txBody>
          <a:bodyPr vert="horz" lIns="94046" tIns="47023" rIns="94046" bIns="47023" rtlCol="0" anchor="b"/>
          <a:lstStyle>
            <a:lvl1pPr algn="r">
              <a:defRPr sz="1200"/>
            </a:lvl1pPr>
          </a:lstStyle>
          <a:p>
            <a:fld id="{220FAA89-3CCE-4328-AE91-A01310C1AD1F}" type="slidenum">
              <a:rPr lang="en-US" smtClean="0"/>
              <a:t>‹#›</a:t>
            </a:fld>
            <a:endParaRPr lang="en-US"/>
          </a:p>
        </p:txBody>
      </p:sp>
    </p:spTree>
    <p:extLst>
      <p:ext uri="{BB962C8B-B14F-4D97-AF65-F5344CB8AC3E}">
        <p14:creationId xmlns:p14="http://schemas.microsoft.com/office/powerpoint/2010/main" val="255798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1</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25678380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10</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11964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receive truck loads of scrap aluminum from various vendors around the Midwest.</a:t>
            </a:r>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2</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403742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uminum is brought from the outside scrap yard to the inside scrap yard. Scrap must be dry to be added to the furnace</a:t>
            </a:r>
            <a:r>
              <a:rPr lang="en-US"/>
              <a:t>. </a:t>
            </a:r>
            <a:endParaRPr lang="en-US" dirty="0"/>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3</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2891970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ap is loaded into the charge car with a payloader. Each time the charge car is loaded there will be between 10 thousand to 20 thousand pounds of material in the charge car. </a:t>
            </a:r>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4</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291480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harge car is moved directly in front of the furnace in preparation for melting. Melting, mixing, and sampling will occur until we have achieved the customers specifications. This process take about 2-3 hours. There may be 100 thousand pounds of metal in a charge.</a:t>
            </a:r>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5</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3533532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lten aluminum is moved through a launder system to the casting table. The function of the casting table is to form liquid metal into logs or billets. </a:t>
            </a:r>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6</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1452287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illets are sent to a saw to be cut and bundled. </a:t>
            </a:r>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7</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685084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we have completed our final quality checks the billets are ready to be loaded and shipped </a:t>
            </a:r>
            <a:r>
              <a:rPr lang="en-US"/>
              <a:t>to customers. </a:t>
            </a:r>
            <a:endParaRPr lang="en-US" dirty="0"/>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8</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3001214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0460">
              <a:defRPr/>
            </a:pPr>
            <a:fld id="{487ACD42-2C31-408B-B6FE-BEE62DC3EF50}" type="slidenum">
              <a:rPr lang="en-GB" sz="1000">
                <a:solidFill>
                  <a:srgbClr val="000000"/>
                </a:solidFill>
                <a:latin typeface="Arial" panose="020B0604020202020204"/>
                <a:cs typeface="Arial" panose="020B0604020202020204" pitchFamily="34" charset="0"/>
              </a:rPr>
              <a:pPr defTabSz="940460">
                <a:defRPr/>
              </a:pPr>
              <a:t>9</a:t>
            </a:fld>
            <a:endParaRPr lang="en-GB" sz="1000">
              <a:solidFill>
                <a:srgbClr val="000000"/>
              </a:solidFill>
              <a:latin typeface="Arial" panose="020B0604020202020204"/>
              <a:cs typeface="Arial" panose="020B0604020202020204" pitchFamily="34" charset="0"/>
            </a:endParaRPr>
          </a:p>
        </p:txBody>
      </p:sp>
    </p:spTree>
    <p:extLst>
      <p:ext uri="{BB962C8B-B14F-4D97-AF65-F5344CB8AC3E}">
        <p14:creationId xmlns:p14="http://schemas.microsoft.com/office/powerpoint/2010/main" val="1926441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General Aluminiu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517229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Light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79872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Aluminium">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69406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17124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tx2"/>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tx2"/>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159627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1723989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2156208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Aluminium">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18640210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tx2"/>
                </a:solidFill>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tx2"/>
                </a:solidFill>
                <a:latin typeface="+mj-lt"/>
              </a:defRPr>
            </a:lvl1pPr>
          </a:lstStyle>
          <a:p>
            <a:pPr lvl="0"/>
            <a:r>
              <a:rPr lang="en-US" noProof="0"/>
              <a:t>00</a:t>
            </a:r>
          </a:p>
        </p:txBody>
      </p:sp>
    </p:spTree>
    <p:extLst>
      <p:ext uri="{BB962C8B-B14F-4D97-AF65-F5344CB8AC3E}">
        <p14:creationId xmlns:p14="http://schemas.microsoft.com/office/powerpoint/2010/main" val="4184205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AFB-6B33-49DF-979F-AB87C296E0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BD80E7-6C8E-4D5E-98A7-BB756D1A52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6">
            <a:extLst>
              <a:ext uri="{FF2B5EF4-FFF2-40B4-BE49-F238E27FC236}">
                <a16:creationId xmlns:a16="http://schemas.microsoft.com/office/drawing/2014/main" id="{F4891101-3C1C-4849-B694-1674691EF169}"/>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2D12EEBD-1E98-4113-A6A2-AD4A240D3C27}"/>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BCC24607-BCE5-46D7-8B24-8D98CAC5FA2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C93C7F9E-972C-48C9-9FE1-5AE34014CE25}"/>
              </a:ext>
            </a:extLst>
          </p:cNvPr>
          <p:cNvSpPr>
            <a:spLocks noGrp="1"/>
          </p:cNvSpPr>
          <p:nvPr>
            <p:ph type="body" sz="quarter" idx="13" hasCustomPrompt="1"/>
          </p:nvPr>
        </p:nvSpPr>
        <p:spPr>
          <a:xfrm>
            <a:off x="479425" y="1089025"/>
            <a:ext cx="9200035"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10" name="Text Placeholder 5">
            <a:extLst>
              <a:ext uri="{FF2B5EF4-FFF2-40B4-BE49-F238E27FC236}">
                <a16:creationId xmlns:a16="http://schemas.microsoft.com/office/drawing/2014/main" id="{21623934-660F-4E16-AC62-252CCB4F888D}"/>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dirty="0"/>
              <a:t>Source</a:t>
            </a:r>
          </a:p>
        </p:txBody>
      </p:sp>
    </p:spTree>
    <p:extLst>
      <p:ext uri="{BB962C8B-B14F-4D97-AF65-F5344CB8AC3E}">
        <p14:creationId xmlns:p14="http://schemas.microsoft.com/office/powerpoint/2010/main" val="1001560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389EEA52-34E8-42F8-BF23-5FA4DB3D1304}"/>
              </a:ext>
            </a:extLst>
          </p:cNvPr>
          <p:cNvSpPr>
            <a:spLocks noGrp="1"/>
          </p:cNvSpPr>
          <p:nvPr>
            <p:ph sz="half" idx="2"/>
          </p:nvPr>
        </p:nvSpPr>
        <p:spPr>
          <a:xfrm>
            <a:off x="6348413" y="1989138"/>
            <a:ext cx="5364163"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479425" y="1089025"/>
            <a:ext cx="9200035"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12" name="Text Placeholder 5">
            <a:extLst>
              <a:ext uri="{FF2B5EF4-FFF2-40B4-BE49-F238E27FC236}">
                <a16:creationId xmlns:a16="http://schemas.microsoft.com/office/drawing/2014/main" id="{A7E5ECD9-1EE3-4EBB-989F-4832BA46968B}"/>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3310318981"/>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Recycl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639261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5" y="1989138"/>
            <a:ext cx="3421064"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389EEA52-34E8-42F8-BF23-5FA4DB3D1304}"/>
              </a:ext>
            </a:extLst>
          </p:cNvPr>
          <p:cNvSpPr>
            <a:spLocks noGrp="1"/>
          </p:cNvSpPr>
          <p:nvPr>
            <p:ph sz="half" idx="2"/>
          </p:nvPr>
        </p:nvSpPr>
        <p:spPr>
          <a:xfrm>
            <a:off x="4403725" y="1989138"/>
            <a:ext cx="3384550"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479425" y="1089025"/>
            <a:ext cx="9200035"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12" name="Text Placeholder 5">
            <a:extLst>
              <a:ext uri="{FF2B5EF4-FFF2-40B4-BE49-F238E27FC236}">
                <a16:creationId xmlns:a16="http://schemas.microsoft.com/office/drawing/2014/main" id="{A7E5ECD9-1EE3-4EBB-989F-4832BA46968B}"/>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17" name="Content Placeholder 3">
            <a:extLst>
              <a:ext uri="{FF2B5EF4-FFF2-40B4-BE49-F238E27FC236}">
                <a16:creationId xmlns:a16="http://schemas.microsoft.com/office/drawing/2014/main" id="{BE39D267-9198-47E5-9B35-62F3F9ACD9E5}"/>
              </a:ext>
            </a:extLst>
          </p:cNvPr>
          <p:cNvSpPr>
            <a:spLocks noGrp="1"/>
          </p:cNvSpPr>
          <p:nvPr>
            <p:ph sz="half" idx="15"/>
          </p:nvPr>
        </p:nvSpPr>
        <p:spPr>
          <a:xfrm>
            <a:off x="8291513" y="1989138"/>
            <a:ext cx="3421062" cy="417671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0569098"/>
      </p:ext>
    </p:extLst>
  </p:cSld>
  <p:clrMapOvr>
    <a:masterClrMapping/>
  </p:clrMapOvr>
  <p:extLst>
    <p:ext uri="{DCECCB84-F9BA-43D5-87BE-67443E8EF086}">
      <p15:sldGuideLst xmlns:p15="http://schemas.microsoft.com/office/powerpoint/2012/main">
        <p15:guide id="1" pos="2457">
          <p15:clr>
            <a:srgbClr val="FBAE40"/>
          </p15:clr>
        </p15:guide>
        <p15:guide id="2" pos="2774">
          <p15:clr>
            <a:srgbClr val="FBAE40"/>
          </p15:clr>
        </p15:guide>
        <p15:guide id="3" pos="4906">
          <p15:clr>
            <a:srgbClr val="FBAE40"/>
          </p15:clr>
        </p15:guide>
        <p15:guide id="4" pos="522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479426" y="1089025"/>
            <a:ext cx="5364162"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6348413" y="0"/>
            <a:ext cx="5843587" cy="6858000"/>
          </a:xfrm>
        </p:spPr>
        <p:txBody>
          <a:bodyPr/>
          <a:lstStyle/>
          <a:p>
            <a:r>
              <a:rPr lang="en-US"/>
              <a:t>Click icon to add picture</a:t>
            </a:r>
            <a:endParaRPr lang="en-GB"/>
          </a:p>
        </p:txBody>
      </p:sp>
      <p:sp>
        <p:nvSpPr>
          <p:cNvPr id="13" name="Text Placeholder 5">
            <a:extLst>
              <a:ext uri="{FF2B5EF4-FFF2-40B4-BE49-F238E27FC236}">
                <a16:creationId xmlns:a16="http://schemas.microsoft.com/office/drawing/2014/main" id="{D5933ADB-612D-421F-AEFC-C62F887FB551}"/>
              </a:ext>
            </a:extLst>
          </p:cNvPr>
          <p:cNvSpPr>
            <a:spLocks noGrp="1"/>
          </p:cNvSpPr>
          <p:nvPr>
            <p:ph type="body" sz="quarter" idx="15"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4" name="Title 3">
            <a:extLst>
              <a:ext uri="{FF2B5EF4-FFF2-40B4-BE49-F238E27FC236}">
                <a16:creationId xmlns:a16="http://schemas.microsoft.com/office/drawing/2014/main" id="{6D1F457A-D69F-4FCF-A93E-DB5899070554}"/>
              </a:ext>
            </a:extLst>
          </p:cNvPr>
          <p:cNvSpPr>
            <a:spLocks noGrp="1"/>
          </p:cNvSpPr>
          <p:nvPr>
            <p:ph type="title"/>
          </p:nvPr>
        </p:nvSpPr>
        <p:spPr>
          <a:xfrm>
            <a:off x="479425" y="441324"/>
            <a:ext cx="5364163" cy="576000"/>
          </a:xfrm>
        </p:spPr>
        <p:txBody>
          <a:bodyPr/>
          <a:lstStyle/>
          <a:p>
            <a:r>
              <a:rPr lang="en-US"/>
              <a:t>Click to edit Master title style</a:t>
            </a:r>
            <a:endParaRPr lang="en-US" dirty="0"/>
          </a:p>
        </p:txBody>
      </p:sp>
    </p:spTree>
    <p:extLst>
      <p:ext uri="{BB962C8B-B14F-4D97-AF65-F5344CB8AC3E}">
        <p14:creationId xmlns:p14="http://schemas.microsoft.com/office/powerpoint/2010/main" val="4131912829"/>
      </p:ext>
    </p:extLst>
  </p:cSld>
  <p:clrMapOvr>
    <a:masterClrMapping/>
  </p:clrMapOvr>
  <p:extLst>
    <p:ext uri="{DCECCB84-F9BA-43D5-87BE-67443E8EF086}">
      <p15:sldGuideLst xmlns:p15="http://schemas.microsoft.com/office/powerpoint/2012/main">
        <p15:guide id="1" pos="3999">
          <p15:clr>
            <a:srgbClr val="FBAE40"/>
          </p15:clr>
        </p15:guide>
        <p15:guide id="2" pos="368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image alternativ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6348411" y="1989138"/>
            <a:ext cx="536416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6348413" y="1089025"/>
            <a:ext cx="5364162"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1" y="0"/>
            <a:ext cx="5843587" cy="6858000"/>
          </a:xfrm>
        </p:spPr>
        <p:txBody>
          <a:bodyPr/>
          <a:lstStyle/>
          <a:p>
            <a:r>
              <a:rPr lang="en-US"/>
              <a:t>Click icon to add picture</a:t>
            </a:r>
            <a:endParaRPr lang="en-GB"/>
          </a:p>
        </p:txBody>
      </p:sp>
      <p:sp>
        <p:nvSpPr>
          <p:cNvPr id="13" name="Text Placeholder 5">
            <a:extLst>
              <a:ext uri="{FF2B5EF4-FFF2-40B4-BE49-F238E27FC236}">
                <a16:creationId xmlns:a16="http://schemas.microsoft.com/office/drawing/2014/main" id="{D5933ADB-612D-421F-AEFC-C62F887FB551}"/>
              </a:ext>
            </a:extLst>
          </p:cNvPr>
          <p:cNvSpPr>
            <a:spLocks noGrp="1"/>
          </p:cNvSpPr>
          <p:nvPr>
            <p:ph type="body" sz="quarter" idx="15" hasCustomPrompt="1"/>
          </p:nvPr>
        </p:nvSpPr>
        <p:spPr>
          <a:xfrm>
            <a:off x="6348412" y="6165850"/>
            <a:ext cx="454104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4" name="Title 3">
            <a:extLst>
              <a:ext uri="{FF2B5EF4-FFF2-40B4-BE49-F238E27FC236}">
                <a16:creationId xmlns:a16="http://schemas.microsoft.com/office/drawing/2014/main" id="{1F9F1225-AC2F-4F41-BEE6-AE5CF687AC58}"/>
              </a:ext>
            </a:extLst>
          </p:cNvPr>
          <p:cNvSpPr>
            <a:spLocks noGrp="1"/>
          </p:cNvSpPr>
          <p:nvPr>
            <p:ph type="title"/>
          </p:nvPr>
        </p:nvSpPr>
        <p:spPr>
          <a:xfrm>
            <a:off x="6348413" y="441324"/>
            <a:ext cx="5364162" cy="576000"/>
          </a:xfrm>
        </p:spPr>
        <p:txBody>
          <a:bodyPr/>
          <a:lstStyle/>
          <a:p>
            <a:r>
              <a:rPr lang="en-US"/>
              <a:t>Click to edit Master title style</a:t>
            </a:r>
            <a:endParaRPr lang="en-US" dirty="0"/>
          </a:p>
        </p:txBody>
      </p:sp>
    </p:spTree>
    <p:extLst>
      <p:ext uri="{BB962C8B-B14F-4D97-AF65-F5344CB8AC3E}">
        <p14:creationId xmlns:p14="http://schemas.microsoft.com/office/powerpoint/2010/main" val="2710331278"/>
      </p:ext>
    </p:extLst>
  </p:cSld>
  <p:clrMapOvr>
    <a:masterClrMapping/>
  </p:clrMapOvr>
  <p:extLst>
    <p:ext uri="{DCECCB84-F9BA-43D5-87BE-67443E8EF086}">
      <p15:sldGuideLst xmlns:p15="http://schemas.microsoft.com/office/powerpoint/2012/main">
        <p15:guide id="1" pos="3999">
          <p15:clr>
            <a:srgbClr val="FBAE40"/>
          </p15:clr>
        </p15:guide>
        <p15:guide id="2" pos="368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two 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479426" y="1089025"/>
            <a:ext cx="5364162"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6348413" y="0"/>
            <a:ext cx="5843587" cy="3429000"/>
          </a:xfrm>
        </p:spPr>
        <p:txBody>
          <a:bodyPr/>
          <a:lstStyle/>
          <a:p>
            <a:r>
              <a:rPr lang="en-US"/>
              <a:t>Click icon to add picture</a:t>
            </a:r>
            <a:endParaRPr lang="en-GB"/>
          </a:p>
        </p:txBody>
      </p:sp>
      <p:sp>
        <p:nvSpPr>
          <p:cNvPr id="12" name="Picture Placeholder 5">
            <a:extLst>
              <a:ext uri="{FF2B5EF4-FFF2-40B4-BE49-F238E27FC236}">
                <a16:creationId xmlns:a16="http://schemas.microsoft.com/office/drawing/2014/main" id="{D9AB13B5-FD33-4E24-9217-209F7DB06B7C}"/>
              </a:ext>
            </a:extLst>
          </p:cNvPr>
          <p:cNvSpPr>
            <a:spLocks noGrp="1"/>
          </p:cNvSpPr>
          <p:nvPr>
            <p:ph type="pic" sz="quarter" idx="15"/>
          </p:nvPr>
        </p:nvSpPr>
        <p:spPr>
          <a:xfrm>
            <a:off x="6348413" y="3429000"/>
            <a:ext cx="5843587" cy="3429000"/>
          </a:xfrm>
        </p:spPr>
        <p:txBody>
          <a:bodyPr/>
          <a:lstStyle/>
          <a:p>
            <a:r>
              <a:rPr lang="en-US"/>
              <a:t>Click icon to add picture</a:t>
            </a:r>
            <a:endParaRPr lang="en-GB"/>
          </a:p>
        </p:txBody>
      </p:sp>
      <p:sp>
        <p:nvSpPr>
          <p:cNvPr id="14" name="Text Placeholder 5">
            <a:extLst>
              <a:ext uri="{FF2B5EF4-FFF2-40B4-BE49-F238E27FC236}">
                <a16:creationId xmlns:a16="http://schemas.microsoft.com/office/drawing/2014/main" id="{09F574E0-8400-465B-BC7A-27596E733D86}"/>
              </a:ext>
            </a:extLst>
          </p:cNvPr>
          <p:cNvSpPr>
            <a:spLocks noGrp="1"/>
          </p:cNvSpPr>
          <p:nvPr>
            <p:ph type="body" sz="quarter" idx="16"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4" name="Title 3">
            <a:extLst>
              <a:ext uri="{FF2B5EF4-FFF2-40B4-BE49-F238E27FC236}">
                <a16:creationId xmlns:a16="http://schemas.microsoft.com/office/drawing/2014/main" id="{F9526B21-30AC-4796-A9DE-E13AE49D9B81}"/>
              </a:ext>
            </a:extLst>
          </p:cNvPr>
          <p:cNvSpPr>
            <a:spLocks noGrp="1"/>
          </p:cNvSpPr>
          <p:nvPr>
            <p:ph type="title"/>
          </p:nvPr>
        </p:nvSpPr>
        <p:spPr>
          <a:xfrm>
            <a:off x="479425" y="441324"/>
            <a:ext cx="5364163" cy="576000"/>
          </a:xfrm>
        </p:spPr>
        <p:txBody>
          <a:bodyPr/>
          <a:lstStyle/>
          <a:p>
            <a:r>
              <a:rPr lang="en-US"/>
              <a:t>Click to edit Master title style</a:t>
            </a:r>
            <a:endParaRPr lang="en-US" dirty="0"/>
          </a:p>
        </p:txBody>
      </p:sp>
    </p:spTree>
    <p:extLst>
      <p:ext uri="{BB962C8B-B14F-4D97-AF65-F5344CB8AC3E}">
        <p14:creationId xmlns:p14="http://schemas.microsoft.com/office/powerpoint/2010/main" val="3394115427"/>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two images alternativ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6348413" y="1989138"/>
            <a:ext cx="5364163"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hasCustomPrompt="1"/>
          </p:nvPr>
        </p:nvSpPr>
        <p:spPr>
          <a:xfrm>
            <a:off x="6348415" y="1089025"/>
            <a:ext cx="5364162"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1" y="0"/>
            <a:ext cx="5843587" cy="3429000"/>
          </a:xfrm>
        </p:spPr>
        <p:txBody>
          <a:bodyPr/>
          <a:lstStyle/>
          <a:p>
            <a:r>
              <a:rPr lang="en-US"/>
              <a:t>Click icon to add picture</a:t>
            </a:r>
            <a:endParaRPr lang="en-GB"/>
          </a:p>
        </p:txBody>
      </p:sp>
      <p:sp>
        <p:nvSpPr>
          <p:cNvPr id="12" name="Picture Placeholder 5">
            <a:extLst>
              <a:ext uri="{FF2B5EF4-FFF2-40B4-BE49-F238E27FC236}">
                <a16:creationId xmlns:a16="http://schemas.microsoft.com/office/drawing/2014/main" id="{D9AB13B5-FD33-4E24-9217-209F7DB06B7C}"/>
              </a:ext>
            </a:extLst>
          </p:cNvPr>
          <p:cNvSpPr>
            <a:spLocks noGrp="1"/>
          </p:cNvSpPr>
          <p:nvPr>
            <p:ph type="pic" sz="quarter" idx="15"/>
          </p:nvPr>
        </p:nvSpPr>
        <p:spPr>
          <a:xfrm>
            <a:off x="1" y="3429000"/>
            <a:ext cx="5843587" cy="3429000"/>
          </a:xfrm>
        </p:spPr>
        <p:txBody>
          <a:bodyPr/>
          <a:lstStyle/>
          <a:p>
            <a:r>
              <a:rPr lang="en-US"/>
              <a:t>Click icon to add picture</a:t>
            </a:r>
            <a:endParaRPr lang="en-GB"/>
          </a:p>
        </p:txBody>
      </p:sp>
      <p:sp>
        <p:nvSpPr>
          <p:cNvPr id="14" name="Text Placeholder 5">
            <a:extLst>
              <a:ext uri="{FF2B5EF4-FFF2-40B4-BE49-F238E27FC236}">
                <a16:creationId xmlns:a16="http://schemas.microsoft.com/office/drawing/2014/main" id="{09F574E0-8400-465B-BC7A-27596E733D86}"/>
              </a:ext>
            </a:extLst>
          </p:cNvPr>
          <p:cNvSpPr>
            <a:spLocks noGrp="1"/>
          </p:cNvSpPr>
          <p:nvPr>
            <p:ph type="body" sz="quarter" idx="16" hasCustomPrompt="1"/>
          </p:nvPr>
        </p:nvSpPr>
        <p:spPr>
          <a:xfrm>
            <a:off x="6348414" y="6165850"/>
            <a:ext cx="4541041"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4" name="Title 3">
            <a:extLst>
              <a:ext uri="{FF2B5EF4-FFF2-40B4-BE49-F238E27FC236}">
                <a16:creationId xmlns:a16="http://schemas.microsoft.com/office/drawing/2014/main" id="{F5CFAD62-D95C-4A9F-A171-64F7B6F105EA}"/>
              </a:ext>
            </a:extLst>
          </p:cNvPr>
          <p:cNvSpPr>
            <a:spLocks noGrp="1"/>
          </p:cNvSpPr>
          <p:nvPr>
            <p:ph type="title"/>
          </p:nvPr>
        </p:nvSpPr>
        <p:spPr>
          <a:xfrm>
            <a:off x="6348413" y="441324"/>
            <a:ext cx="5364162" cy="576000"/>
          </a:xfrm>
        </p:spPr>
        <p:txBody>
          <a:bodyPr/>
          <a:lstStyle/>
          <a:p>
            <a:r>
              <a:rPr lang="en-US"/>
              <a:t>Click to edit Master title style</a:t>
            </a:r>
            <a:endParaRPr lang="en-US" dirty="0"/>
          </a:p>
        </p:txBody>
      </p:sp>
    </p:spTree>
    <p:extLst>
      <p:ext uri="{BB962C8B-B14F-4D97-AF65-F5344CB8AC3E}">
        <p14:creationId xmlns:p14="http://schemas.microsoft.com/office/powerpoint/2010/main" val="3022318627"/>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99E59-0FD0-4C3E-A9C4-0CD1423DDCCC}"/>
              </a:ext>
            </a:extLst>
          </p:cNvPr>
          <p:cNvSpPr>
            <a:spLocks noGrp="1"/>
          </p:cNvSpPr>
          <p:nvPr>
            <p:ph type="title"/>
          </p:nvPr>
        </p:nvSpPr>
        <p:spPr/>
        <p:txBody>
          <a:bodyPr/>
          <a:lstStyle/>
          <a:p>
            <a:r>
              <a:rPr lang="en-US"/>
              <a:t>Click to edit Master title style</a:t>
            </a:r>
            <a:endParaRPr lang="en-GB"/>
          </a:p>
        </p:txBody>
      </p:sp>
      <p:sp>
        <p:nvSpPr>
          <p:cNvPr id="6" name="Date Placeholder 5">
            <a:extLst>
              <a:ext uri="{FF2B5EF4-FFF2-40B4-BE49-F238E27FC236}">
                <a16:creationId xmlns:a16="http://schemas.microsoft.com/office/drawing/2014/main" id="{CBDE37A7-F8DA-4780-8E36-C3FC3301A0C2}"/>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EC25D5BD-BB8E-4FBE-B016-3CABEC02E290}"/>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B88892E5-1737-4DC9-9234-BFC9446120B6}"/>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0" name="Text Placeholder 5">
            <a:extLst>
              <a:ext uri="{FF2B5EF4-FFF2-40B4-BE49-F238E27FC236}">
                <a16:creationId xmlns:a16="http://schemas.microsoft.com/office/drawing/2014/main" id="{5FAB94BC-6B2D-4DD9-B4CC-7FE2D8E8517A}"/>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9" name="Text Placeholder 10">
            <a:extLst>
              <a:ext uri="{FF2B5EF4-FFF2-40B4-BE49-F238E27FC236}">
                <a16:creationId xmlns:a16="http://schemas.microsoft.com/office/drawing/2014/main" id="{8CF44C50-B85B-4B46-BE46-2E5252CBA0E3}"/>
              </a:ext>
            </a:extLst>
          </p:cNvPr>
          <p:cNvSpPr>
            <a:spLocks noGrp="1"/>
          </p:cNvSpPr>
          <p:nvPr>
            <p:ph type="body" sz="quarter" idx="13" hasCustomPrompt="1"/>
          </p:nvPr>
        </p:nvSpPr>
        <p:spPr>
          <a:xfrm>
            <a:off x="479425" y="1089025"/>
            <a:ext cx="9200035" cy="468000"/>
          </a:xfrm>
        </p:spPr>
        <p:txBody>
          <a:bodyPr/>
          <a:lstStyle>
            <a:lvl1pPr marL="0" indent="0">
              <a:buNone/>
              <a:defRPr sz="18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3481417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4D8E0EB-9603-42C5-A725-2288CB60DC0A}"/>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6A49492-3EE1-4ED2-AA55-76DE84FC078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B9B5D0D-0336-4312-86E0-1ACCDBB5D30A}"/>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9" name="Text Placeholder 5">
            <a:extLst>
              <a:ext uri="{FF2B5EF4-FFF2-40B4-BE49-F238E27FC236}">
                <a16:creationId xmlns:a16="http://schemas.microsoft.com/office/drawing/2014/main" id="{DADC9754-7A83-42C3-8DA1-253EF7783D08}"/>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2437966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On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12693599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One image with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12192000" cy="4940300"/>
          </a:xfrm>
        </p:spPr>
        <p:txBody>
          <a:bodyPr/>
          <a:lstStyle/>
          <a:p>
            <a:r>
              <a:rPr lang="en-US"/>
              <a:t>Click icon to add picture</a:t>
            </a:r>
            <a:endParaRPr lang="en-GB"/>
          </a:p>
        </p:txBody>
      </p:sp>
      <p:sp>
        <p:nvSpPr>
          <p:cNvPr id="4" name="Content Placeholder 2">
            <a:extLst>
              <a:ext uri="{FF2B5EF4-FFF2-40B4-BE49-F238E27FC236}">
                <a16:creationId xmlns:a16="http://schemas.microsoft.com/office/drawing/2014/main" id="{33EDC29F-806E-41D8-8B76-2A376F14FCEF}"/>
              </a:ext>
            </a:extLst>
          </p:cNvPr>
          <p:cNvSpPr>
            <a:spLocks noGrp="1"/>
          </p:cNvSpPr>
          <p:nvPr>
            <p:ph sz="half" idx="1"/>
          </p:nvPr>
        </p:nvSpPr>
        <p:spPr>
          <a:xfrm>
            <a:off x="479424" y="5384800"/>
            <a:ext cx="11233151" cy="781050"/>
          </a:xfrm>
        </p:spPr>
        <p:txBody>
          <a:bodyPr/>
          <a:lstStyle>
            <a:lvl1pPr marL="0" indent="0">
              <a:buNone/>
              <a:defRPr/>
            </a:lvl1pPr>
          </a:lstStyle>
          <a:p>
            <a:pPr lvl="0"/>
            <a:r>
              <a:rPr lang="en-US" noProof="0"/>
              <a:t>Click to edit Master text styles</a:t>
            </a:r>
          </a:p>
        </p:txBody>
      </p:sp>
    </p:spTree>
    <p:extLst>
      <p:ext uri="{BB962C8B-B14F-4D97-AF65-F5344CB8AC3E}">
        <p14:creationId xmlns:p14="http://schemas.microsoft.com/office/powerpoint/2010/main" val="40896603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6096000" cy="6858000"/>
          </a:xfrm>
        </p:spPr>
        <p:txBody>
          <a:bodyPr/>
          <a:lstStyle/>
          <a:p>
            <a:r>
              <a:rPr lang="en-US"/>
              <a:t>Click icon to add picture</a:t>
            </a:r>
            <a:endParaRPr lang="en-GB"/>
          </a:p>
        </p:txBody>
      </p:sp>
      <p:sp>
        <p:nvSpPr>
          <p:cNvPr id="4" name="Picture Placeholder 2">
            <a:extLst>
              <a:ext uri="{FF2B5EF4-FFF2-40B4-BE49-F238E27FC236}">
                <a16:creationId xmlns:a16="http://schemas.microsoft.com/office/drawing/2014/main" id="{3BF29427-2E6F-4EC9-936C-2EF2BC37CD92}"/>
              </a:ext>
            </a:extLst>
          </p:cNvPr>
          <p:cNvSpPr>
            <a:spLocks noGrp="1"/>
          </p:cNvSpPr>
          <p:nvPr>
            <p:ph type="pic" sz="quarter" idx="14"/>
          </p:nvPr>
        </p:nvSpPr>
        <p:spPr>
          <a:xfrm>
            <a:off x="6096000" y="0"/>
            <a:ext cx="6096000" cy="6858000"/>
          </a:xfrm>
        </p:spPr>
        <p:txBody>
          <a:bodyPr/>
          <a:lstStyle/>
          <a:p>
            <a:r>
              <a:rPr lang="en-US"/>
              <a:t>Click icon to add picture</a:t>
            </a:r>
            <a:endParaRPr lang="en-GB"/>
          </a:p>
        </p:txBody>
      </p:sp>
    </p:spTree>
    <p:extLst>
      <p:ext uri="{BB962C8B-B14F-4D97-AF65-F5344CB8AC3E}">
        <p14:creationId xmlns:p14="http://schemas.microsoft.com/office/powerpoint/2010/main" val="371389045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Raw materi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850159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hree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6096000" cy="3429000"/>
          </a:xfrm>
        </p:spPr>
        <p:txBody>
          <a:bodyPr/>
          <a:lstStyle/>
          <a:p>
            <a:r>
              <a:rPr lang="en-US"/>
              <a:t>Click icon to add picture</a:t>
            </a:r>
            <a:endParaRPr lang="en-GB"/>
          </a:p>
        </p:txBody>
      </p:sp>
      <p:sp>
        <p:nvSpPr>
          <p:cNvPr id="4" name="Picture Placeholder 2">
            <a:extLst>
              <a:ext uri="{FF2B5EF4-FFF2-40B4-BE49-F238E27FC236}">
                <a16:creationId xmlns:a16="http://schemas.microsoft.com/office/drawing/2014/main" id="{3BF29427-2E6F-4EC9-936C-2EF2BC37CD92}"/>
              </a:ext>
            </a:extLst>
          </p:cNvPr>
          <p:cNvSpPr>
            <a:spLocks noGrp="1"/>
          </p:cNvSpPr>
          <p:nvPr>
            <p:ph type="pic" sz="quarter" idx="14"/>
          </p:nvPr>
        </p:nvSpPr>
        <p:spPr>
          <a:xfrm>
            <a:off x="6096000" y="0"/>
            <a:ext cx="6096000" cy="6858000"/>
          </a:xfrm>
        </p:spPr>
        <p:txBody>
          <a:bodyPr/>
          <a:lstStyle/>
          <a:p>
            <a:r>
              <a:rPr lang="en-US"/>
              <a:t>Click icon to add picture</a:t>
            </a:r>
            <a:endParaRPr lang="en-GB"/>
          </a:p>
        </p:txBody>
      </p:sp>
      <p:sp>
        <p:nvSpPr>
          <p:cNvPr id="5" name="Picture Placeholder 2">
            <a:extLst>
              <a:ext uri="{FF2B5EF4-FFF2-40B4-BE49-F238E27FC236}">
                <a16:creationId xmlns:a16="http://schemas.microsoft.com/office/drawing/2014/main" id="{DC473AA6-D9EF-4CFC-92B3-E9AEBE6BFE48}"/>
              </a:ext>
            </a:extLst>
          </p:cNvPr>
          <p:cNvSpPr>
            <a:spLocks noGrp="1"/>
          </p:cNvSpPr>
          <p:nvPr>
            <p:ph type="pic" sz="quarter" idx="15"/>
          </p:nvPr>
        </p:nvSpPr>
        <p:spPr>
          <a:xfrm>
            <a:off x="0" y="3429000"/>
            <a:ext cx="6096000" cy="3429000"/>
          </a:xfrm>
        </p:spPr>
        <p:txBody>
          <a:bodyPr/>
          <a:lstStyle/>
          <a:p>
            <a:r>
              <a:rPr lang="en-US"/>
              <a:t>Click icon to add picture</a:t>
            </a:r>
            <a:endParaRPr lang="en-GB"/>
          </a:p>
        </p:txBody>
      </p:sp>
    </p:spTree>
    <p:extLst>
      <p:ext uri="{BB962C8B-B14F-4D97-AF65-F5344CB8AC3E}">
        <p14:creationId xmlns:p14="http://schemas.microsoft.com/office/powerpoint/2010/main" val="3590121754"/>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slide default - with tagline">
    <p:bg>
      <p:bgPr>
        <a:solidFill>
          <a:schemeClr val="tx2"/>
        </a:solidFill>
        <a:effectLst/>
      </p:bgPr>
    </p:bg>
    <p:spTree>
      <p:nvGrpSpPr>
        <p:cNvPr id="1" name=""/>
        <p:cNvGrpSpPr/>
        <p:nvPr/>
      </p:nvGrpSpPr>
      <p:grpSpPr>
        <a:xfrm>
          <a:off x="0" y="0"/>
          <a:ext cx="0" cy="0"/>
          <a:chOff x="0" y="0"/>
          <a:chExt cx="0" cy="0"/>
        </a:xfrm>
      </p:grpSpPr>
      <p:grpSp>
        <p:nvGrpSpPr>
          <p:cNvPr id="5" name="Graphic 3">
            <a:extLst>
              <a:ext uri="{FF2B5EF4-FFF2-40B4-BE49-F238E27FC236}">
                <a16:creationId xmlns:a16="http://schemas.microsoft.com/office/drawing/2014/main" id="{CCAB14FA-48D7-4E08-8DBC-8BADE76A5197}"/>
              </a:ext>
            </a:extLst>
          </p:cNvPr>
          <p:cNvGrpSpPr/>
          <p:nvPr/>
        </p:nvGrpSpPr>
        <p:grpSpPr>
          <a:xfrm>
            <a:off x="4963463" y="1931307"/>
            <a:ext cx="2265073" cy="2542514"/>
            <a:chOff x="4963463" y="1931307"/>
            <a:chExt cx="2265073" cy="2542514"/>
          </a:xfrm>
        </p:grpSpPr>
        <p:sp>
          <p:nvSpPr>
            <p:cNvPr id="6" name="Freeform: Shape 5">
              <a:extLst>
                <a:ext uri="{FF2B5EF4-FFF2-40B4-BE49-F238E27FC236}">
                  <a16:creationId xmlns:a16="http://schemas.microsoft.com/office/drawing/2014/main" id="{140C728F-4903-4046-9527-30BED6B2C0CC}"/>
                </a:ext>
              </a:extLst>
            </p:cNvPr>
            <p:cNvSpPr/>
            <p:nvPr/>
          </p:nvSpPr>
          <p:spPr>
            <a:xfrm>
              <a:off x="5156911" y="3153598"/>
              <a:ext cx="410663" cy="525526"/>
            </a:xfrm>
            <a:custGeom>
              <a:avLst/>
              <a:gdLst>
                <a:gd name="connsiteX0" fmla="*/ 93083 w 410663"/>
                <a:gd name="connsiteY0" fmla="*/ 296081 h 525526"/>
                <a:gd name="connsiteX1" fmla="*/ 93083 w 410663"/>
                <a:gd name="connsiteY1" fmla="*/ 525399 h 525526"/>
                <a:gd name="connsiteX2" fmla="*/ -216 w 410663"/>
                <a:gd name="connsiteY2" fmla="*/ 525399 h 525526"/>
                <a:gd name="connsiteX3" fmla="*/ -216 w 410663"/>
                <a:gd name="connsiteY3" fmla="*/ -128 h 525526"/>
                <a:gd name="connsiteX4" fmla="*/ 93083 w 410663"/>
                <a:gd name="connsiteY4" fmla="*/ -128 h 525526"/>
                <a:gd name="connsiteX5" fmla="*/ 93083 w 410663"/>
                <a:gd name="connsiteY5" fmla="*/ 213775 h 525526"/>
                <a:gd name="connsiteX6" fmla="*/ 317154 w 410663"/>
                <a:gd name="connsiteY6" fmla="*/ 213775 h 525526"/>
                <a:gd name="connsiteX7" fmla="*/ 317154 w 410663"/>
                <a:gd name="connsiteY7" fmla="*/ -128 h 525526"/>
                <a:gd name="connsiteX8" fmla="*/ 410448 w 410663"/>
                <a:gd name="connsiteY8" fmla="*/ -128 h 525526"/>
                <a:gd name="connsiteX9" fmla="*/ 410448 w 410663"/>
                <a:gd name="connsiteY9" fmla="*/ 525399 h 525526"/>
                <a:gd name="connsiteX10" fmla="*/ 317154 w 410663"/>
                <a:gd name="connsiteY10" fmla="*/ 525399 h 525526"/>
                <a:gd name="connsiteX11" fmla="*/ 317154 w 410663"/>
                <a:gd name="connsiteY11" fmla="*/ 296081 h 52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0663" h="525526">
                  <a:moveTo>
                    <a:pt x="93083" y="296081"/>
                  </a:moveTo>
                  <a:lnTo>
                    <a:pt x="93083" y="525399"/>
                  </a:lnTo>
                  <a:lnTo>
                    <a:pt x="-216" y="525399"/>
                  </a:lnTo>
                  <a:lnTo>
                    <a:pt x="-216" y="-128"/>
                  </a:lnTo>
                  <a:lnTo>
                    <a:pt x="93083" y="-128"/>
                  </a:lnTo>
                  <a:lnTo>
                    <a:pt x="93083" y="213775"/>
                  </a:lnTo>
                  <a:lnTo>
                    <a:pt x="317154" y="213775"/>
                  </a:lnTo>
                  <a:lnTo>
                    <a:pt x="317154" y="-128"/>
                  </a:lnTo>
                  <a:lnTo>
                    <a:pt x="410448" y="-128"/>
                  </a:lnTo>
                  <a:lnTo>
                    <a:pt x="410448" y="525399"/>
                  </a:lnTo>
                  <a:lnTo>
                    <a:pt x="317154" y="525399"/>
                  </a:lnTo>
                  <a:lnTo>
                    <a:pt x="317154" y="296081"/>
                  </a:lnTo>
                  <a:close/>
                </a:path>
              </a:pathLst>
            </a:custGeom>
            <a:solidFill>
              <a:srgbClr val="FFFFFF"/>
            </a:solidFill>
            <a:ln w="550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8C0CCC6D-D04C-411F-B43C-747EF28D416E}"/>
                </a:ext>
              </a:extLst>
            </p:cNvPr>
            <p:cNvSpPr/>
            <p:nvPr/>
          </p:nvSpPr>
          <p:spPr>
            <a:xfrm>
              <a:off x="5602821" y="3293248"/>
              <a:ext cx="382758" cy="518180"/>
            </a:xfrm>
            <a:custGeom>
              <a:avLst/>
              <a:gdLst>
                <a:gd name="connsiteX0" fmla="*/ 85028 w 382758"/>
                <a:gd name="connsiteY0" fmla="*/ 518053 h 518180"/>
                <a:gd name="connsiteX1" fmla="*/ 145246 w 382758"/>
                <a:gd name="connsiteY1" fmla="*/ 375451 h 518180"/>
                <a:gd name="connsiteX2" fmla="*/ -216 w 382758"/>
                <a:gd name="connsiteY2" fmla="*/ -128 h 518180"/>
                <a:gd name="connsiteX3" fmla="*/ 98232 w 382758"/>
                <a:gd name="connsiteY3" fmla="*/ -128 h 518180"/>
                <a:gd name="connsiteX4" fmla="*/ 192266 w 382758"/>
                <a:gd name="connsiteY4" fmla="*/ 275498 h 518180"/>
                <a:gd name="connsiteX5" fmla="*/ 286305 w 382758"/>
                <a:gd name="connsiteY5" fmla="*/ -128 h 518180"/>
                <a:gd name="connsiteX6" fmla="*/ 382543 w 382758"/>
                <a:gd name="connsiteY6" fmla="*/ -128 h 518180"/>
                <a:gd name="connsiteX7" fmla="*/ 176106 w 382758"/>
                <a:gd name="connsiteY7" fmla="*/ 518048 h 51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758" h="518180">
                  <a:moveTo>
                    <a:pt x="85028" y="518053"/>
                  </a:moveTo>
                  <a:lnTo>
                    <a:pt x="145246" y="375451"/>
                  </a:lnTo>
                  <a:cubicBezTo>
                    <a:pt x="101166" y="258590"/>
                    <a:pt x="47539" y="121145"/>
                    <a:pt x="-216" y="-128"/>
                  </a:cubicBezTo>
                  <a:lnTo>
                    <a:pt x="98232" y="-128"/>
                  </a:lnTo>
                  <a:cubicBezTo>
                    <a:pt x="140843" y="122615"/>
                    <a:pt x="165079" y="199791"/>
                    <a:pt x="192266" y="275498"/>
                  </a:cubicBezTo>
                  <a:cubicBezTo>
                    <a:pt x="215778" y="211548"/>
                    <a:pt x="254693" y="91010"/>
                    <a:pt x="286305" y="-128"/>
                  </a:cubicBezTo>
                  <a:lnTo>
                    <a:pt x="382543" y="-128"/>
                  </a:lnTo>
                  <a:cubicBezTo>
                    <a:pt x="314955" y="170392"/>
                    <a:pt x="248103" y="341647"/>
                    <a:pt x="176106" y="518048"/>
                  </a:cubicBezTo>
                  <a:close/>
                </a:path>
              </a:pathLst>
            </a:custGeom>
            <a:solidFill>
              <a:srgbClr val="FFFFFF"/>
            </a:solidFill>
            <a:ln w="550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60B0DC9D-4D36-47B5-97D7-A352B8A299DC}"/>
                </a:ext>
              </a:extLst>
            </p:cNvPr>
            <p:cNvSpPr/>
            <p:nvPr/>
          </p:nvSpPr>
          <p:spPr>
            <a:xfrm>
              <a:off x="5975309" y="3153598"/>
              <a:ext cx="395238" cy="534347"/>
            </a:xfrm>
            <a:custGeom>
              <a:avLst/>
              <a:gdLst>
                <a:gd name="connsiteX0" fmla="*/ 310536 w 395238"/>
                <a:gd name="connsiteY0" fmla="*/ 525399 h 534347"/>
                <a:gd name="connsiteX1" fmla="*/ 310536 w 395238"/>
                <a:gd name="connsiteY1" fmla="*/ 471011 h 534347"/>
                <a:gd name="connsiteX2" fmla="*/ 177570 w 395238"/>
                <a:gd name="connsiteY2" fmla="*/ 534220 h 534347"/>
                <a:gd name="connsiteX3" fmla="*/ -216 w 395238"/>
                <a:gd name="connsiteY3" fmla="*/ 331372 h 534347"/>
                <a:gd name="connsiteX4" fmla="*/ 179769 w 395238"/>
                <a:gd name="connsiteY4" fmla="*/ 127042 h 534347"/>
                <a:gd name="connsiteX5" fmla="*/ 306133 w 395238"/>
                <a:gd name="connsiteY5" fmla="*/ 188781 h 534347"/>
                <a:gd name="connsiteX6" fmla="*/ 305398 w 395238"/>
                <a:gd name="connsiteY6" fmla="*/ 112346 h 534347"/>
                <a:gd name="connsiteX7" fmla="*/ 305398 w 395238"/>
                <a:gd name="connsiteY7" fmla="*/ -128 h 534347"/>
                <a:gd name="connsiteX8" fmla="*/ 395023 w 395238"/>
                <a:gd name="connsiteY8" fmla="*/ -128 h 534347"/>
                <a:gd name="connsiteX9" fmla="*/ 395023 w 395238"/>
                <a:gd name="connsiteY9" fmla="*/ 525399 h 534347"/>
                <a:gd name="connsiteX10" fmla="*/ 91614 w 395238"/>
                <a:gd name="connsiteY10" fmla="*/ 332831 h 534347"/>
                <a:gd name="connsiteX11" fmla="*/ 198138 w 395238"/>
                <a:gd name="connsiteY11" fmla="*/ 461455 h 534347"/>
                <a:gd name="connsiteX12" fmla="*/ 309801 w 395238"/>
                <a:gd name="connsiteY12" fmla="*/ 329907 h 534347"/>
                <a:gd name="connsiteX13" fmla="*/ 198873 w 395238"/>
                <a:gd name="connsiteY13" fmla="*/ 201284 h 534347"/>
                <a:gd name="connsiteX14" fmla="*/ 91614 w 395238"/>
                <a:gd name="connsiteY14" fmla="*/ 332831 h 534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238" h="534347">
                  <a:moveTo>
                    <a:pt x="310536" y="525399"/>
                  </a:moveTo>
                  <a:lnTo>
                    <a:pt x="310536" y="471011"/>
                  </a:lnTo>
                  <a:cubicBezTo>
                    <a:pt x="288498" y="504821"/>
                    <a:pt x="243688" y="534220"/>
                    <a:pt x="177570" y="534220"/>
                  </a:cubicBezTo>
                  <a:cubicBezTo>
                    <a:pt x="72510" y="534220"/>
                    <a:pt x="-216" y="451904"/>
                    <a:pt x="-216" y="331372"/>
                  </a:cubicBezTo>
                  <a:cubicBezTo>
                    <a:pt x="-216" y="214510"/>
                    <a:pt x="69576" y="127042"/>
                    <a:pt x="179769" y="127042"/>
                  </a:cubicBezTo>
                  <a:cubicBezTo>
                    <a:pt x="240744" y="127042"/>
                    <a:pt x="284830" y="157177"/>
                    <a:pt x="306133" y="188781"/>
                  </a:cubicBezTo>
                  <a:cubicBezTo>
                    <a:pt x="305398" y="161587"/>
                    <a:pt x="305398" y="138804"/>
                    <a:pt x="305398" y="112346"/>
                  </a:cubicBezTo>
                  <a:lnTo>
                    <a:pt x="305398" y="-128"/>
                  </a:lnTo>
                  <a:lnTo>
                    <a:pt x="395023" y="-128"/>
                  </a:lnTo>
                  <a:lnTo>
                    <a:pt x="395023" y="525399"/>
                  </a:lnTo>
                  <a:close/>
                  <a:moveTo>
                    <a:pt x="91614" y="332831"/>
                  </a:moveTo>
                  <a:cubicBezTo>
                    <a:pt x="91614" y="406343"/>
                    <a:pt x="131286" y="461455"/>
                    <a:pt x="198138" y="461455"/>
                  </a:cubicBezTo>
                  <a:cubicBezTo>
                    <a:pt x="267930" y="461455"/>
                    <a:pt x="309801" y="405597"/>
                    <a:pt x="309801" y="329907"/>
                  </a:cubicBezTo>
                  <a:cubicBezTo>
                    <a:pt x="309801" y="255671"/>
                    <a:pt x="263522" y="201284"/>
                    <a:pt x="198873" y="201284"/>
                  </a:cubicBezTo>
                  <a:cubicBezTo>
                    <a:pt x="131286" y="201267"/>
                    <a:pt x="91614" y="259330"/>
                    <a:pt x="91614" y="332831"/>
                  </a:cubicBezTo>
                  <a:close/>
                </a:path>
              </a:pathLst>
            </a:custGeom>
            <a:solidFill>
              <a:srgbClr val="FFFFFF"/>
            </a:solidFill>
            <a:ln w="5506"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26B931DA-7BAE-45DC-B05B-DE9F1CAC313B}"/>
                </a:ext>
              </a:extLst>
            </p:cNvPr>
            <p:cNvSpPr/>
            <p:nvPr/>
          </p:nvSpPr>
          <p:spPr>
            <a:xfrm>
              <a:off x="6427854" y="3283695"/>
              <a:ext cx="198354" cy="395429"/>
            </a:xfrm>
            <a:custGeom>
              <a:avLst/>
              <a:gdLst>
                <a:gd name="connsiteX0" fmla="*/ 84266 w 198354"/>
                <a:gd name="connsiteY0" fmla="*/ 8696 h 395429"/>
                <a:gd name="connsiteX1" fmla="*/ 84266 w 198354"/>
                <a:gd name="connsiteY1" fmla="*/ 35155 h 395429"/>
                <a:gd name="connsiteX2" fmla="*/ 83537 w 198354"/>
                <a:gd name="connsiteY2" fmla="*/ 60878 h 395429"/>
                <a:gd name="connsiteX3" fmla="*/ 176835 w 198354"/>
                <a:gd name="connsiteY3" fmla="*/ -125 h 395429"/>
                <a:gd name="connsiteX4" fmla="*/ 198138 w 198354"/>
                <a:gd name="connsiteY4" fmla="*/ 1345 h 395429"/>
                <a:gd name="connsiteX5" fmla="*/ 198138 w 198354"/>
                <a:gd name="connsiteY5" fmla="*/ 86607 h 395429"/>
                <a:gd name="connsiteX6" fmla="*/ 172427 w 198354"/>
                <a:gd name="connsiteY6" fmla="*/ 83667 h 395429"/>
                <a:gd name="connsiteX7" fmla="*/ 90144 w 198354"/>
                <a:gd name="connsiteY7" fmla="*/ 213004 h 395429"/>
                <a:gd name="connsiteX8" fmla="*/ 90144 w 198354"/>
                <a:gd name="connsiteY8" fmla="*/ 395302 h 395429"/>
                <a:gd name="connsiteX9" fmla="*/ 519 w 198354"/>
                <a:gd name="connsiteY9" fmla="*/ 395302 h 395429"/>
                <a:gd name="connsiteX10" fmla="*/ 519 w 198354"/>
                <a:gd name="connsiteY10" fmla="*/ 78521 h 395429"/>
                <a:gd name="connsiteX11" fmla="*/ -216 w 198354"/>
                <a:gd name="connsiteY11" fmla="*/ 8696 h 39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354" h="395429">
                  <a:moveTo>
                    <a:pt x="84266" y="8696"/>
                  </a:moveTo>
                  <a:lnTo>
                    <a:pt x="84266" y="35155"/>
                  </a:lnTo>
                  <a:cubicBezTo>
                    <a:pt x="84266" y="43998"/>
                    <a:pt x="84266" y="52792"/>
                    <a:pt x="83537" y="60878"/>
                  </a:cubicBezTo>
                  <a:cubicBezTo>
                    <a:pt x="96757" y="21928"/>
                    <a:pt x="132755" y="-125"/>
                    <a:pt x="176835" y="-125"/>
                  </a:cubicBezTo>
                  <a:cubicBezTo>
                    <a:pt x="183962" y="-164"/>
                    <a:pt x="191083" y="328"/>
                    <a:pt x="198138" y="1345"/>
                  </a:cubicBezTo>
                  <a:lnTo>
                    <a:pt x="198138" y="86607"/>
                  </a:lnTo>
                  <a:cubicBezTo>
                    <a:pt x="189752" y="84413"/>
                    <a:pt x="181095" y="83424"/>
                    <a:pt x="172427" y="83667"/>
                  </a:cubicBezTo>
                  <a:cubicBezTo>
                    <a:pt x="102635" y="83667"/>
                    <a:pt x="90144" y="133644"/>
                    <a:pt x="90144" y="213004"/>
                  </a:cubicBezTo>
                  <a:lnTo>
                    <a:pt x="90144" y="395302"/>
                  </a:lnTo>
                  <a:lnTo>
                    <a:pt x="519" y="395302"/>
                  </a:lnTo>
                  <a:lnTo>
                    <a:pt x="519" y="78521"/>
                  </a:lnTo>
                  <a:cubicBezTo>
                    <a:pt x="519" y="54268"/>
                    <a:pt x="519" y="32214"/>
                    <a:pt x="-216" y="8696"/>
                  </a:cubicBezTo>
                  <a:close/>
                </a:path>
              </a:pathLst>
            </a:custGeom>
            <a:solidFill>
              <a:srgbClr val="FFFFFF"/>
            </a:solidFill>
            <a:ln w="550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F148E3E3-DFB6-45BB-B2F2-14942DCABDD3}"/>
                </a:ext>
              </a:extLst>
            </p:cNvPr>
            <p:cNvSpPr/>
            <p:nvPr/>
          </p:nvSpPr>
          <p:spPr>
            <a:xfrm>
              <a:off x="6632816" y="3280022"/>
              <a:ext cx="403321" cy="410864"/>
            </a:xfrm>
            <a:custGeom>
              <a:avLst/>
              <a:gdLst>
                <a:gd name="connsiteX0" fmla="*/ 403105 w 403321"/>
                <a:gd name="connsiteY0" fmla="*/ 206408 h 410864"/>
                <a:gd name="connsiteX1" fmla="*/ 199608 w 403321"/>
                <a:gd name="connsiteY1" fmla="*/ 410737 h 410864"/>
                <a:gd name="connsiteX2" fmla="*/ -216 w 403321"/>
                <a:gd name="connsiteY2" fmla="*/ 206408 h 410864"/>
                <a:gd name="connsiteX3" fmla="*/ 201078 w 403321"/>
                <a:gd name="connsiteY3" fmla="*/ -128 h 410864"/>
                <a:gd name="connsiteX4" fmla="*/ 403105 w 403321"/>
                <a:gd name="connsiteY4" fmla="*/ 206408 h 410864"/>
                <a:gd name="connsiteX5" fmla="*/ 91614 w 403321"/>
                <a:gd name="connsiteY5" fmla="*/ 205672 h 410864"/>
                <a:gd name="connsiteX6" fmla="*/ 199608 w 403321"/>
                <a:gd name="connsiteY6" fmla="*/ 335766 h 410864"/>
                <a:gd name="connsiteX7" fmla="*/ 308332 w 403321"/>
                <a:gd name="connsiteY7" fmla="*/ 205672 h 410864"/>
                <a:gd name="connsiteX8" fmla="*/ 199608 w 403321"/>
                <a:gd name="connsiteY8" fmla="*/ 74843 h 410864"/>
                <a:gd name="connsiteX9" fmla="*/ 91614 w 403321"/>
                <a:gd name="connsiteY9" fmla="*/ 205672 h 410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321" h="410864">
                  <a:moveTo>
                    <a:pt x="403105" y="206408"/>
                  </a:moveTo>
                  <a:cubicBezTo>
                    <a:pt x="403105" y="325480"/>
                    <a:pt x="324496" y="410737"/>
                    <a:pt x="199608" y="410737"/>
                  </a:cubicBezTo>
                  <a:cubicBezTo>
                    <a:pt x="75449" y="410737"/>
                    <a:pt x="-216" y="324745"/>
                    <a:pt x="-216" y="206408"/>
                  </a:cubicBezTo>
                  <a:cubicBezTo>
                    <a:pt x="-216" y="85135"/>
                    <a:pt x="79857" y="-128"/>
                    <a:pt x="201078" y="-128"/>
                  </a:cubicBezTo>
                  <a:cubicBezTo>
                    <a:pt x="323027" y="-128"/>
                    <a:pt x="403105" y="85141"/>
                    <a:pt x="403105" y="206408"/>
                  </a:cubicBezTo>
                  <a:close/>
                  <a:moveTo>
                    <a:pt x="91614" y="205672"/>
                  </a:moveTo>
                  <a:cubicBezTo>
                    <a:pt x="91614" y="284313"/>
                    <a:pt x="132020" y="335766"/>
                    <a:pt x="199608" y="335766"/>
                  </a:cubicBezTo>
                  <a:cubicBezTo>
                    <a:pt x="267930" y="335766"/>
                    <a:pt x="308332" y="284313"/>
                    <a:pt x="308332" y="205672"/>
                  </a:cubicBezTo>
                  <a:cubicBezTo>
                    <a:pt x="308332" y="129231"/>
                    <a:pt x="267195" y="74843"/>
                    <a:pt x="199608" y="74843"/>
                  </a:cubicBezTo>
                  <a:cubicBezTo>
                    <a:pt x="132749" y="74843"/>
                    <a:pt x="91614" y="129231"/>
                    <a:pt x="91614" y="205672"/>
                  </a:cubicBezTo>
                  <a:close/>
                </a:path>
              </a:pathLst>
            </a:custGeom>
            <a:solidFill>
              <a:srgbClr val="FFFFFF"/>
            </a:solidFill>
            <a:ln w="55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8188C7D-62E7-407D-A900-9B8900C05D21}"/>
                </a:ext>
              </a:extLst>
            </p:cNvPr>
            <p:cNvSpPr/>
            <p:nvPr/>
          </p:nvSpPr>
          <p:spPr>
            <a:xfrm>
              <a:off x="5604055" y="1931306"/>
              <a:ext cx="985320" cy="986163"/>
            </a:xfrm>
            <a:custGeom>
              <a:avLst/>
              <a:gdLst>
                <a:gd name="connsiteX0" fmla="*/ 492253 w 985320"/>
                <a:gd name="connsiteY0" fmla="*/ -128 h 986163"/>
                <a:gd name="connsiteX1" fmla="*/ 24625 w 985320"/>
                <a:gd name="connsiteY1" fmla="*/ -128 h 986163"/>
                <a:gd name="connsiteX2" fmla="*/ -213 w 985320"/>
                <a:gd name="connsiteY2" fmla="*/ 25469 h 986163"/>
                <a:gd name="connsiteX3" fmla="*/ 24625 w 985320"/>
                <a:gd name="connsiteY3" fmla="*/ 50319 h 986163"/>
                <a:gd name="connsiteX4" fmla="*/ 467049 w 985320"/>
                <a:gd name="connsiteY4" fmla="*/ 492954 h 986163"/>
                <a:gd name="connsiteX5" fmla="*/ 24625 w 985320"/>
                <a:gd name="connsiteY5" fmla="*/ 935589 h 986163"/>
                <a:gd name="connsiteX6" fmla="*/ -213 w 985320"/>
                <a:gd name="connsiteY6" fmla="*/ 961186 h 986163"/>
                <a:gd name="connsiteX7" fmla="*/ 24625 w 985320"/>
                <a:gd name="connsiteY7" fmla="*/ 986036 h 986163"/>
                <a:gd name="connsiteX8" fmla="*/ 492258 w 985320"/>
                <a:gd name="connsiteY8" fmla="*/ 986036 h 986163"/>
                <a:gd name="connsiteX9" fmla="*/ 985105 w 985320"/>
                <a:gd name="connsiteY9" fmla="*/ 492954 h 986163"/>
                <a:gd name="connsiteX10" fmla="*/ 492258 w 985320"/>
                <a:gd name="connsiteY10" fmla="*/ -128 h 986163"/>
                <a:gd name="connsiteX11" fmla="*/ 409307 w 985320"/>
                <a:gd name="connsiteY11" fmla="*/ 929471 h 986163"/>
                <a:gd name="connsiteX12" fmla="*/ 617130 w 985320"/>
                <a:gd name="connsiteY12" fmla="*/ 264360 h 986163"/>
                <a:gd name="connsiteX13" fmla="*/ 409307 w 985320"/>
                <a:gd name="connsiteY13" fmla="*/ 56438 h 986163"/>
                <a:gd name="connsiteX14" fmla="*/ 772773 w 985320"/>
                <a:gd name="connsiteY14" fmla="*/ 565831 h 986163"/>
                <a:gd name="connsiteX15" fmla="*/ 409307 w 985320"/>
                <a:gd name="connsiteY15" fmla="*/ 929471 h 986163"/>
                <a:gd name="connsiteX16" fmla="*/ 517467 w 985320"/>
                <a:gd name="connsiteY16" fmla="*/ 492954 h 986163"/>
                <a:gd name="connsiteX17" fmla="*/ 253646 w 985320"/>
                <a:gd name="connsiteY17" fmla="*/ 56477 h 986163"/>
                <a:gd name="connsiteX18" fmla="*/ 616843 w 985320"/>
                <a:gd name="connsiteY18" fmla="*/ 566063 h 986163"/>
                <a:gd name="connsiteX19" fmla="*/ 253646 w 985320"/>
                <a:gd name="connsiteY19" fmla="*/ 929432 h 986163"/>
                <a:gd name="connsiteX20" fmla="*/ 517467 w 985320"/>
                <a:gd name="connsiteY20" fmla="*/ 492954 h 986163"/>
                <a:gd name="connsiteX21" fmla="*/ 565182 w 985320"/>
                <a:gd name="connsiteY21" fmla="*/ 929471 h 986163"/>
                <a:gd name="connsiteX22" fmla="*/ 773017 w 985320"/>
                <a:gd name="connsiteY22" fmla="*/ 264371 h 986163"/>
                <a:gd name="connsiteX23" fmla="*/ 565182 w 985320"/>
                <a:gd name="connsiteY23" fmla="*/ 56438 h 986163"/>
                <a:gd name="connsiteX24" fmla="*/ 928649 w 985320"/>
                <a:gd name="connsiteY24" fmla="*/ 565831 h 986163"/>
                <a:gd name="connsiteX25" fmla="*/ 565182 w 985320"/>
                <a:gd name="connsiteY25" fmla="*/ 929471 h 98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5320" h="986163">
                  <a:moveTo>
                    <a:pt x="492253" y="-128"/>
                  </a:moveTo>
                  <a:lnTo>
                    <a:pt x="24625" y="-128"/>
                  </a:lnTo>
                  <a:cubicBezTo>
                    <a:pt x="10704" y="77"/>
                    <a:pt x="-417" y="11540"/>
                    <a:pt x="-213" y="25469"/>
                  </a:cubicBezTo>
                  <a:cubicBezTo>
                    <a:pt x="-9" y="39110"/>
                    <a:pt x="10991" y="50115"/>
                    <a:pt x="24625" y="50319"/>
                  </a:cubicBezTo>
                  <a:cubicBezTo>
                    <a:pt x="268972" y="50319"/>
                    <a:pt x="467049" y="248492"/>
                    <a:pt x="467049" y="492954"/>
                  </a:cubicBezTo>
                  <a:cubicBezTo>
                    <a:pt x="467049" y="737417"/>
                    <a:pt x="268972" y="935589"/>
                    <a:pt x="24625" y="935589"/>
                  </a:cubicBezTo>
                  <a:cubicBezTo>
                    <a:pt x="10704" y="935794"/>
                    <a:pt x="-417" y="947257"/>
                    <a:pt x="-213" y="961186"/>
                  </a:cubicBezTo>
                  <a:cubicBezTo>
                    <a:pt x="-9" y="974827"/>
                    <a:pt x="10991" y="985832"/>
                    <a:pt x="24625" y="986036"/>
                  </a:cubicBezTo>
                  <a:lnTo>
                    <a:pt x="492258" y="986036"/>
                  </a:lnTo>
                  <a:cubicBezTo>
                    <a:pt x="764448" y="986036"/>
                    <a:pt x="985105" y="765274"/>
                    <a:pt x="985105" y="492954"/>
                  </a:cubicBezTo>
                  <a:cubicBezTo>
                    <a:pt x="985105" y="220635"/>
                    <a:pt x="764448" y="-128"/>
                    <a:pt x="492258" y="-128"/>
                  </a:cubicBezTo>
                  <a:close/>
                  <a:moveTo>
                    <a:pt x="409307" y="929471"/>
                  </a:moveTo>
                  <a:cubicBezTo>
                    <a:pt x="650272" y="803219"/>
                    <a:pt x="743317" y="505440"/>
                    <a:pt x="617130" y="264360"/>
                  </a:cubicBezTo>
                  <a:cubicBezTo>
                    <a:pt x="570619" y="175505"/>
                    <a:pt x="498120" y="102966"/>
                    <a:pt x="409307" y="56438"/>
                  </a:cubicBezTo>
                  <a:cubicBezTo>
                    <a:pt x="650272" y="96687"/>
                    <a:pt x="813003" y="324745"/>
                    <a:pt x="772773" y="565831"/>
                  </a:cubicBezTo>
                  <a:cubicBezTo>
                    <a:pt x="741665" y="752258"/>
                    <a:pt x="595650" y="898347"/>
                    <a:pt x="409307" y="929471"/>
                  </a:cubicBezTo>
                  <a:close/>
                  <a:moveTo>
                    <a:pt x="517467" y="492954"/>
                  </a:moveTo>
                  <a:cubicBezTo>
                    <a:pt x="517323" y="309750"/>
                    <a:pt x="415748" y="141695"/>
                    <a:pt x="253646" y="56477"/>
                  </a:cubicBezTo>
                  <a:cubicBezTo>
                    <a:pt x="494590" y="96853"/>
                    <a:pt x="657200" y="324999"/>
                    <a:pt x="616843" y="566063"/>
                  </a:cubicBezTo>
                  <a:cubicBezTo>
                    <a:pt x="585668" y="752302"/>
                    <a:pt x="439802" y="898237"/>
                    <a:pt x="253646" y="929432"/>
                  </a:cubicBezTo>
                  <a:cubicBezTo>
                    <a:pt x="415748" y="844214"/>
                    <a:pt x="517323" y="676159"/>
                    <a:pt x="517467" y="492954"/>
                  </a:cubicBezTo>
                  <a:close/>
                  <a:moveTo>
                    <a:pt x="565182" y="929471"/>
                  </a:moveTo>
                  <a:cubicBezTo>
                    <a:pt x="806147" y="803230"/>
                    <a:pt x="899198" y="505451"/>
                    <a:pt x="773017" y="264371"/>
                  </a:cubicBezTo>
                  <a:cubicBezTo>
                    <a:pt x="726505" y="175510"/>
                    <a:pt x="654001" y="102971"/>
                    <a:pt x="565182" y="56438"/>
                  </a:cubicBezTo>
                  <a:cubicBezTo>
                    <a:pt x="806147" y="96687"/>
                    <a:pt x="968879" y="324745"/>
                    <a:pt x="928649" y="565831"/>
                  </a:cubicBezTo>
                  <a:cubicBezTo>
                    <a:pt x="897540" y="752258"/>
                    <a:pt x="751526" y="898347"/>
                    <a:pt x="565182" y="929471"/>
                  </a:cubicBezTo>
                  <a:close/>
                </a:path>
              </a:pathLst>
            </a:custGeom>
            <a:solidFill>
              <a:srgbClr val="FFFFFF"/>
            </a:solidFill>
            <a:ln w="55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3D32DB43-D483-403F-B649-28618EBCE130}"/>
                </a:ext>
              </a:extLst>
            </p:cNvPr>
            <p:cNvSpPr/>
            <p:nvPr/>
          </p:nvSpPr>
          <p:spPr>
            <a:xfrm>
              <a:off x="4963463" y="4297995"/>
              <a:ext cx="59582" cy="174106"/>
            </a:xfrm>
            <a:custGeom>
              <a:avLst/>
              <a:gdLst>
                <a:gd name="connsiteX0" fmla="*/ -216 w 59582"/>
                <a:gd name="connsiteY0" fmla="*/ 173979 h 174106"/>
                <a:gd name="connsiteX1" fmla="*/ 36219 w 59582"/>
                <a:gd name="connsiteY1" fmla="*/ -128 h 174106"/>
                <a:gd name="connsiteX2" fmla="*/ 59367 w 59582"/>
                <a:gd name="connsiteY2" fmla="*/ -128 h 174106"/>
                <a:gd name="connsiteX3" fmla="*/ 23043 w 59582"/>
                <a:gd name="connsiteY3" fmla="*/ 173979 h 174106"/>
              </a:gdLst>
              <a:ahLst/>
              <a:cxnLst>
                <a:cxn ang="0">
                  <a:pos x="connsiteX0" y="connsiteY0"/>
                </a:cxn>
                <a:cxn ang="0">
                  <a:pos x="connsiteX1" y="connsiteY1"/>
                </a:cxn>
                <a:cxn ang="0">
                  <a:pos x="connsiteX2" y="connsiteY2"/>
                </a:cxn>
                <a:cxn ang="0">
                  <a:pos x="connsiteX3" y="connsiteY3"/>
                </a:cxn>
              </a:cxnLst>
              <a:rect l="l" t="t" r="r" b="b"/>
              <a:pathLst>
                <a:path w="59582" h="174106">
                  <a:moveTo>
                    <a:pt x="-216" y="173979"/>
                  </a:moveTo>
                  <a:lnTo>
                    <a:pt x="36219" y="-128"/>
                  </a:lnTo>
                  <a:lnTo>
                    <a:pt x="59367" y="-128"/>
                  </a:lnTo>
                  <a:lnTo>
                    <a:pt x="23043" y="173979"/>
                  </a:lnTo>
                  <a:close/>
                </a:path>
              </a:pathLst>
            </a:custGeom>
            <a:solidFill>
              <a:srgbClr val="FFFFFF"/>
            </a:solidFill>
            <a:ln w="55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5459BCC-9891-4CAD-8055-922F30FE07BE}"/>
                </a:ext>
              </a:extLst>
            </p:cNvPr>
            <p:cNvSpPr/>
            <p:nvPr/>
          </p:nvSpPr>
          <p:spPr>
            <a:xfrm>
              <a:off x="5023957" y="4343085"/>
              <a:ext cx="120284" cy="129016"/>
            </a:xfrm>
            <a:custGeom>
              <a:avLst/>
              <a:gdLst>
                <a:gd name="connsiteX0" fmla="*/ -216 w 120284"/>
                <a:gd name="connsiteY0" fmla="*/ 128889 h 129016"/>
                <a:gd name="connsiteX1" fmla="*/ 26136 w 120284"/>
                <a:gd name="connsiteY1" fmla="*/ 2780 h 129016"/>
                <a:gd name="connsiteX2" fmla="*/ 45599 w 120284"/>
                <a:gd name="connsiteY2" fmla="*/ 2780 h 129016"/>
                <a:gd name="connsiteX3" fmla="*/ 40970 w 120284"/>
                <a:gd name="connsiteY3" fmla="*/ 24751 h 129016"/>
                <a:gd name="connsiteX4" fmla="*/ 64725 w 120284"/>
                <a:gd name="connsiteY4" fmla="*/ 5864 h 129016"/>
                <a:gd name="connsiteX5" fmla="*/ 87277 w 120284"/>
                <a:gd name="connsiteY5" fmla="*/ -72 h 129016"/>
                <a:gd name="connsiteX6" fmla="*/ 111314 w 120284"/>
                <a:gd name="connsiteY6" fmla="*/ 8219 h 129016"/>
                <a:gd name="connsiteX7" fmla="*/ 120037 w 120284"/>
                <a:gd name="connsiteY7" fmla="*/ 30427 h 129016"/>
                <a:gd name="connsiteX8" fmla="*/ 116949 w 120284"/>
                <a:gd name="connsiteY8" fmla="*/ 52536 h 129016"/>
                <a:gd name="connsiteX9" fmla="*/ 100928 w 120284"/>
                <a:gd name="connsiteY9" fmla="*/ 128889 h 129016"/>
                <a:gd name="connsiteX10" fmla="*/ 79443 w 120284"/>
                <a:gd name="connsiteY10" fmla="*/ 128889 h 129016"/>
                <a:gd name="connsiteX11" fmla="*/ 96182 w 120284"/>
                <a:gd name="connsiteY11" fmla="*/ 48971 h 129016"/>
                <a:gd name="connsiteX12" fmla="*/ 98674 w 120284"/>
                <a:gd name="connsiteY12" fmla="*/ 31754 h 129016"/>
                <a:gd name="connsiteX13" fmla="*/ 94343 w 120284"/>
                <a:gd name="connsiteY13" fmla="*/ 21540 h 129016"/>
                <a:gd name="connsiteX14" fmla="*/ 81818 w 120284"/>
                <a:gd name="connsiteY14" fmla="*/ 17621 h 129016"/>
                <a:gd name="connsiteX15" fmla="*/ 52444 w 120284"/>
                <a:gd name="connsiteY15" fmla="*/ 29499 h 129016"/>
                <a:gd name="connsiteX16" fmla="*/ 33512 w 120284"/>
                <a:gd name="connsiteY16" fmla="*/ 70229 h 129016"/>
                <a:gd name="connsiteX17" fmla="*/ 21286 w 120284"/>
                <a:gd name="connsiteY17" fmla="*/ 128889 h 129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284" h="129016">
                  <a:moveTo>
                    <a:pt x="-216" y="128889"/>
                  </a:moveTo>
                  <a:lnTo>
                    <a:pt x="26136" y="2780"/>
                  </a:lnTo>
                  <a:lnTo>
                    <a:pt x="45599" y="2780"/>
                  </a:lnTo>
                  <a:lnTo>
                    <a:pt x="40970" y="24751"/>
                  </a:lnTo>
                  <a:cubicBezTo>
                    <a:pt x="47914" y="17322"/>
                    <a:pt x="55919" y="10955"/>
                    <a:pt x="64725" y="5864"/>
                  </a:cubicBezTo>
                  <a:cubicBezTo>
                    <a:pt x="71626" y="2029"/>
                    <a:pt x="79382" y="-11"/>
                    <a:pt x="87277" y="-72"/>
                  </a:cubicBezTo>
                  <a:cubicBezTo>
                    <a:pt x="96066" y="-580"/>
                    <a:pt x="104707" y="2399"/>
                    <a:pt x="111314" y="8219"/>
                  </a:cubicBezTo>
                  <a:cubicBezTo>
                    <a:pt x="117247" y="14045"/>
                    <a:pt x="120419" y="22120"/>
                    <a:pt x="120037" y="30427"/>
                  </a:cubicBezTo>
                  <a:cubicBezTo>
                    <a:pt x="119673" y="37873"/>
                    <a:pt x="118640" y="45273"/>
                    <a:pt x="116949" y="52536"/>
                  </a:cubicBezTo>
                  <a:lnTo>
                    <a:pt x="100928" y="128889"/>
                  </a:lnTo>
                  <a:lnTo>
                    <a:pt x="79443" y="128889"/>
                  </a:lnTo>
                  <a:lnTo>
                    <a:pt x="96182" y="48971"/>
                  </a:lnTo>
                  <a:cubicBezTo>
                    <a:pt x="97552" y="43323"/>
                    <a:pt x="98387" y="37557"/>
                    <a:pt x="98674" y="31754"/>
                  </a:cubicBezTo>
                  <a:cubicBezTo>
                    <a:pt x="98806" y="27874"/>
                    <a:pt x="97221" y="24138"/>
                    <a:pt x="94343" y="21540"/>
                  </a:cubicBezTo>
                  <a:cubicBezTo>
                    <a:pt x="90807" y="18710"/>
                    <a:pt x="86338" y="17311"/>
                    <a:pt x="81818" y="17621"/>
                  </a:cubicBezTo>
                  <a:cubicBezTo>
                    <a:pt x="70858" y="17604"/>
                    <a:pt x="60317" y="21866"/>
                    <a:pt x="52444" y="29499"/>
                  </a:cubicBezTo>
                  <a:cubicBezTo>
                    <a:pt x="43854" y="37419"/>
                    <a:pt x="37539" y="50994"/>
                    <a:pt x="33512" y="70229"/>
                  </a:cubicBezTo>
                  <a:lnTo>
                    <a:pt x="21286" y="128889"/>
                  </a:lnTo>
                  <a:close/>
                </a:path>
              </a:pathLst>
            </a:custGeom>
            <a:solidFill>
              <a:srgbClr val="FFFFFF"/>
            </a:solidFill>
            <a:ln w="55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67D74C1C-BF0C-4BA4-8835-1C879418E42B}"/>
                </a:ext>
              </a:extLst>
            </p:cNvPr>
            <p:cNvSpPr/>
            <p:nvPr/>
          </p:nvSpPr>
          <p:spPr>
            <a:xfrm>
              <a:off x="5162699" y="4297973"/>
              <a:ext cx="132585" cy="176988"/>
            </a:xfrm>
            <a:custGeom>
              <a:avLst/>
              <a:gdLst>
                <a:gd name="connsiteX0" fmla="*/ 80008 w 132585"/>
                <a:gd name="connsiteY0" fmla="*/ 155717 h 176988"/>
                <a:gd name="connsiteX1" fmla="*/ 41551 w 132585"/>
                <a:gd name="connsiteY1" fmla="*/ 176853 h 176988"/>
                <a:gd name="connsiteX2" fmla="*/ 11719 w 132585"/>
                <a:gd name="connsiteY2" fmla="*/ 163588 h 176988"/>
                <a:gd name="connsiteX3" fmla="*/ -209 w 132585"/>
                <a:gd name="connsiteY3" fmla="*/ 125174 h 176988"/>
                <a:gd name="connsiteX4" fmla="*/ 9227 w 132585"/>
                <a:gd name="connsiteY4" fmla="*/ 83079 h 176988"/>
                <a:gd name="connsiteX5" fmla="*/ 32845 w 132585"/>
                <a:gd name="connsiteY5" fmla="*/ 54520 h 176988"/>
                <a:gd name="connsiteX6" fmla="*/ 61268 w 132585"/>
                <a:gd name="connsiteY6" fmla="*/ 45018 h 176988"/>
                <a:gd name="connsiteX7" fmla="*/ 96758 w 132585"/>
                <a:gd name="connsiteY7" fmla="*/ 67680 h 176988"/>
                <a:gd name="connsiteX8" fmla="*/ 111001 w 132585"/>
                <a:gd name="connsiteY8" fmla="*/ -128 h 176988"/>
                <a:gd name="connsiteX9" fmla="*/ 132370 w 132585"/>
                <a:gd name="connsiteY9" fmla="*/ -128 h 176988"/>
                <a:gd name="connsiteX10" fmla="*/ 96046 w 132585"/>
                <a:gd name="connsiteY10" fmla="*/ 173979 h 176988"/>
                <a:gd name="connsiteX11" fmla="*/ 76229 w 132585"/>
                <a:gd name="connsiteY11" fmla="*/ 173979 h 176988"/>
                <a:gd name="connsiteX12" fmla="*/ 21138 w 132585"/>
                <a:gd name="connsiteY12" fmla="*/ 121161 h 176988"/>
                <a:gd name="connsiteX13" fmla="*/ 23746 w 132585"/>
                <a:gd name="connsiteY13" fmla="*/ 141944 h 176988"/>
                <a:gd name="connsiteX14" fmla="*/ 32651 w 132585"/>
                <a:gd name="connsiteY14" fmla="*/ 154590 h 176988"/>
                <a:gd name="connsiteX15" fmla="*/ 47722 w 132585"/>
                <a:gd name="connsiteY15" fmla="*/ 159636 h 176988"/>
                <a:gd name="connsiteX16" fmla="*/ 74190 w 132585"/>
                <a:gd name="connsiteY16" fmla="*/ 144436 h 176988"/>
                <a:gd name="connsiteX17" fmla="*/ 90096 w 132585"/>
                <a:gd name="connsiteY17" fmla="*/ 94559 h 176988"/>
                <a:gd name="connsiteX18" fmla="*/ 82262 w 132585"/>
                <a:gd name="connsiteY18" fmla="*/ 71168 h 176988"/>
                <a:gd name="connsiteX19" fmla="*/ 62561 w 132585"/>
                <a:gd name="connsiteY19" fmla="*/ 62733 h 176988"/>
                <a:gd name="connsiteX20" fmla="*/ 48496 w 132585"/>
                <a:gd name="connsiteY20" fmla="*/ 66177 h 176988"/>
                <a:gd name="connsiteX21" fmla="*/ 35916 w 132585"/>
                <a:gd name="connsiteY21" fmla="*/ 77878 h 176988"/>
                <a:gd name="connsiteX22" fmla="*/ 25419 w 132585"/>
                <a:gd name="connsiteY22" fmla="*/ 98837 h 176988"/>
                <a:gd name="connsiteX23" fmla="*/ 21138 w 132585"/>
                <a:gd name="connsiteY23" fmla="*/ 121161 h 17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2585" h="176988">
                  <a:moveTo>
                    <a:pt x="80008" y="155717"/>
                  </a:moveTo>
                  <a:cubicBezTo>
                    <a:pt x="67743" y="169806"/>
                    <a:pt x="54926" y="176848"/>
                    <a:pt x="41551" y="176853"/>
                  </a:cubicBezTo>
                  <a:cubicBezTo>
                    <a:pt x="30132" y="177080"/>
                    <a:pt x="19204" y="172222"/>
                    <a:pt x="11719" y="163588"/>
                  </a:cubicBezTo>
                  <a:cubicBezTo>
                    <a:pt x="3763" y="154767"/>
                    <a:pt x="-214" y="141960"/>
                    <a:pt x="-209" y="125174"/>
                  </a:cubicBezTo>
                  <a:cubicBezTo>
                    <a:pt x="-386" y="110599"/>
                    <a:pt x="2846" y="96184"/>
                    <a:pt x="9227" y="83079"/>
                  </a:cubicBezTo>
                  <a:cubicBezTo>
                    <a:pt x="14448" y="71643"/>
                    <a:pt x="22596" y="61794"/>
                    <a:pt x="32845" y="54520"/>
                  </a:cubicBezTo>
                  <a:cubicBezTo>
                    <a:pt x="41148" y="48561"/>
                    <a:pt x="51054" y="45251"/>
                    <a:pt x="61268" y="45018"/>
                  </a:cubicBezTo>
                  <a:cubicBezTo>
                    <a:pt x="76566" y="44775"/>
                    <a:pt x="90538" y="53696"/>
                    <a:pt x="96758" y="67680"/>
                  </a:cubicBezTo>
                  <a:lnTo>
                    <a:pt x="111001" y="-128"/>
                  </a:lnTo>
                  <a:lnTo>
                    <a:pt x="132370" y="-128"/>
                  </a:lnTo>
                  <a:lnTo>
                    <a:pt x="96046" y="173979"/>
                  </a:lnTo>
                  <a:lnTo>
                    <a:pt x="76229" y="173979"/>
                  </a:lnTo>
                  <a:close/>
                  <a:moveTo>
                    <a:pt x="21138" y="121161"/>
                  </a:moveTo>
                  <a:cubicBezTo>
                    <a:pt x="20900" y="128181"/>
                    <a:pt x="21779" y="135201"/>
                    <a:pt x="23746" y="141944"/>
                  </a:cubicBezTo>
                  <a:cubicBezTo>
                    <a:pt x="25431" y="146929"/>
                    <a:pt x="28524" y="151323"/>
                    <a:pt x="32651" y="154590"/>
                  </a:cubicBezTo>
                  <a:cubicBezTo>
                    <a:pt x="36927" y="157983"/>
                    <a:pt x="42264" y="159769"/>
                    <a:pt x="47722" y="159636"/>
                  </a:cubicBezTo>
                  <a:cubicBezTo>
                    <a:pt x="57456" y="159636"/>
                    <a:pt x="66279" y="154568"/>
                    <a:pt x="74190" y="144436"/>
                  </a:cubicBezTo>
                  <a:cubicBezTo>
                    <a:pt x="85068" y="130138"/>
                    <a:pt x="90687" y="112522"/>
                    <a:pt x="90096" y="94559"/>
                  </a:cubicBezTo>
                  <a:cubicBezTo>
                    <a:pt x="90604" y="86041"/>
                    <a:pt x="87797" y="77662"/>
                    <a:pt x="82262" y="71168"/>
                  </a:cubicBezTo>
                  <a:cubicBezTo>
                    <a:pt x="77229" y="65629"/>
                    <a:pt x="70042" y="62551"/>
                    <a:pt x="62561" y="62733"/>
                  </a:cubicBezTo>
                  <a:cubicBezTo>
                    <a:pt x="57655" y="62673"/>
                    <a:pt x="52816" y="63861"/>
                    <a:pt x="48496" y="66177"/>
                  </a:cubicBezTo>
                  <a:cubicBezTo>
                    <a:pt x="43529" y="69150"/>
                    <a:pt x="39242" y="73136"/>
                    <a:pt x="35916" y="77878"/>
                  </a:cubicBezTo>
                  <a:cubicBezTo>
                    <a:pt x="31320" y="84256"/>
                    <a:pt x="27778" y="91336"/>
                    <a:pt x="25419" y="98837"/>
                  </a:cubicBezTo>
                  <a:cubicBezTo>
                    <a:pt x="22812" y="106000"/>
                    <a:pt x="21365" y="113539"/>
                    <a:pt x="21138" y="121161"/>
                  </a:cubicBezTo>
                  <a:close/>
                </a:path>
              </a:pathLst>
            </a:custGeom>
            <a:solidFill>
              <a:srgbClr val="FFFFFF"/>
            </a:solidFill>
            <a:ln w="55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73F43A01-EA14-4D92-B3AE-4EB269886131}"/>
                </a:ext>
              </a:extLst>
            </p:cNvPr>
            <p:cNvSpPr/>
            <p:nvPr/>
          </p:nvSpPr>
          <p:spPr>
            <a:xfrm>
              <a:off x="5299038" y="4345993"/>
              <a:ext cx="120372" cy="128994"/>
            </a:xfrm>
            <a:custGeom>
              <a:avLst/>
              <a:gdLst>
                <a:gd name="connsiteX0" fmla="*/ 78711 w 120372"/>
                <a:gd name="connsiteY0" fmla="*/ 103181 h 128994"/>
                <a:gd name="connsiteX1" fmla="*/ 32305 w 120372"/>
                <a:gd name="connsiteY1" fmla="*/ 128833 h 128994"/>
                <a:gd name="connsiteX2" fmla="*/ 8748 w 120372"/>
                <a:gd name="connsiteY2" fmla="*/ 120460 h 128994"/>
                <a:gd name="connsiteX3" fmla="*/ -213 w 120372"/>
                <a:gd name="connsiteY3" fmla="*/ 99976 h 128994"/>
                <a:gd name="connsiteX4" fmla="*/ 3820 w 120372"/>
                <a:gd name="connsiteY4" fmla="*/ 72666 h 128994"/>
                <a:gd name="connsiteX5" fmla="*/ 19013 w 120372"/>
                <a:gd name="connsiteY5" fmla="*/ -128 h 128994"/>
                <a:gd name="connsiteX6" fmla="*/ 40498 w 120372"/>
                <a:gd name="connsiteY6" fmla="*/ -128 h 128994"/>
                <a:gd name="connsiteX7" fmla="*/ 23637 w 120372"/>
                <a:gd name="connsiteY7" fmla="*/ 80503 h 128994"/>
                <a:gd name="connsiteX8" fmla="*/ 21499 w 120372"/>
                <a:gd name="connsiteY8" fmla="*/ 96179 h 128994"/>
                <a:gd name="connsiteX9" fmla="*/ 25836 w 120372"/>
                <a:gd name="connsiteY9" fmla="*/ 107277 h 128994"/>
                <a:gd name="connsiteX10" fmla="*/ 38592 w 120372"/>
                <a:gd name="connsiteY10" fmla="*/ 111257 h 128994"/>
                <a:gd name="connsiteX11" fmla="*/ 56221 w 120372"/>
                <a:gd name="connsiteY11" fmla="*/ 106863 h 128994"/>
                <a:gd name="connsiteX12" fmla="*/ 71054 w 120372"/>
                <a:gd name="connsiteY12" fmla="*/ 94990 h 128994"/>
                <a:gd name="connsiteX13" fmla="*/ 81203 w 120372"/>
                <a:gd name="connsiteY13" fmla="*/ 77303 h 128994"/>
                <a:gd name="connsiteX14" fmla="*/ 87280 w 120372"/>
                <a:gd name="connsiteY14" fmla="*/ 54382 h 128994"/>
                <a:gd name="connsiteX15" fmla="*/ 98672 w 120372"/>
                <a:gd name="connsiteY15" fmla="*/ -122 h 128994"/>
                <a:gd name="connsiteX16" fmla="*/ 120157 w 120372"/>
                <a:gd name="connsiteY16" fmla="*/ -122 h 128994"/>
                <a:gd name="connsiteX17" fmla="*/ 93805 w 120372"/>
                <a:gd name="connsiteY17" fmla="*/ 125987 h 128994"/>
                <a:gd name="connsiteX18" fmla="*/ 73982 w 120372"/>
                <a:gd name="connsiteY18" fmla="*/ 125987 h 12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0372" h="128994">
                  <a:moveTo>
                    <a:pt x="78711" y="103181"/>
                  </a:moveTo>
                  <a:cubicBezTo>
                    <a:pt x="63613" y="120282"/>
                    <a:pt x="48144" y="128833"/>
                    <a:pt x="32305" y="128833"/>
                  </a:cubicBezTo>
                  <a:cubicBezTo>
                    <a:pt x="23659" y="129226"/>
                    <a:pt x="15207" y="126219"/>
                    <a:pt x="8748" y="120460"/>
                  </a:cubicBezTo>
                  <a:cubicBezTo>
                    <a:pt x="2936" y="115253"/>
                    <a:pt x="-334" y="107780"/>
                    <a:pt x="-213" y="99976"/>
                  </a:cubicBezTo>
                  <a:cubicBezTo>
                    <a:pt x="323" y="90773"/>
                    <a:pt x="1677" y="81631"/>
                    <a:pt x="3820" y="72666"/>
                  </a:cubicBezTo>
                  <a:lnTo>
                    <a:pt x="19013" y="-128"/>
                  </a:lnTo>
                  <a:lnTo>
                    <a:pt x="40498" y="-128"/>
                  </a:lnTo>
                  <a:lnTo>
                    <a:pt x="23637" y="80503"/>
                  </a:lnTo>
                  <a:cubicBezTo>
                    <a:pt x="22416" y="85649"/>
                    <a:pt x="21698" y="90895"/>
                    <a:pt x="21499" y="96179"/>
                  </a:cubicBezTo>
                  <a:cubicBezTo>
                    <a:pt x="21262" y="100335"/>
                    <a:pt x="22847" y="104386"/>
                    <a:pt x="25836" y="107277"/>
                  </a:cubicBezTo>
                  <a:cubicBezTo>
                    <a:pt x="29432" y="110173"/>
                    <a:pt x="33990" y="111594"/>
                    <a:pt x="38592" y="111257"/>
                  </a:cubicBezTo>
                  <a:cubicBezTo>
                    <a:pt x="44735" y="111229"/>
                    <a:pt x="50779" y="109720"/>
                    <a:pt x="56221" y="106863"/>
                  </a:cubicBezTo>
                  <a:cubicBezTo>
                    <a:pt x="61922" y="103961"/>
                    <a:pt x="66972" y="99920"/>
                    <a:pt x="71054" y="94990"/>
                  </a:cubicBezTo>
                  <a:cubicBezTo>
                    <a:pt x="75386" y="89695"/>
                    <a:pt x="78816" y="83715"/>
                    <a:pt x="81203" y="77303"/>
                  </a:cubicBezTo>
                  <a:cubicBezTo>
                    <a:pt x="83800" y="69825"/>
                    <a:pt x="85833" y="62164"/>
                    <a:pt x="87280" y="54382"/>
                  </a:cubicBezTo>
                  <a:lnTo>
                    <a:pt x="98672" y="-122"/>
                  </a:lnTo>
                  <a:lnTo>
                    <a:pt x="120157" y="-122"/>
                  </a:lnTo>
                  <a:lnTo>
                    <a:pt x="93805" y="125987"/>
                  </a:lnTo>
                  <a:lnTo>
                    <a:pt x="73982" y="125987"/>
                  </a:lnTo>
                  <a:close/>
                </a:path>
              </a:pathLst>
            </a:custGeom>
            <a:solidFill>
              <a:srgbClr val="FFFFFF"/>
            </a:solidFill>
            <a:ln w="550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4D1A149-36AB-4CED-B36B-03CAA20958DE}"/>
                </a:ext>
              </a:extLst>
            </p:cNvPr>
            <p:cNvSpPr/>
            <p:nvPr/>
          </p:nvSpPr>
          <p:spPr>
            <a:xfrm>
              <a:off x="5427864" y="4343050"/>
              <a:ext cx="111839" cy="131960"/>
            </a:xfrm>
            <a:custGeom>
              <a:avLst/>
              <a:gdLst>
                <a:gd name="connsiteX0" fmla="*/ -172 w 111839"/>
                <a:gd name="connsiteY0" fmla="*/ 85823 h 131960"/>
                <a:gd name="connsiteX1" fmla="*/ 21313 w 111839"/>
                <a:gd name="connsiteY1" fmla="*/ 84513 h 131960"/>
                <a:gd name="connsiteX2" fmla="*/ 24158 w 111839"/>
                <a:gd name="connsiteY2" fmla="*/ 100309 h 131960"/>
                <a:gd name="connsiteX3" fmla="*/ 34654 w 111839"/>
                <a:gd name="connsiteY3" fmla="*/ 110994 h 131960"/>
                <a:gd name="connsiteX4" fmla="*/ 52515 w 111839"/>
                <a:gd name="connsiteY4" fmla="*/ 115150 h 131960"/>
                <a:gd name="connsiteX5" fmla="*/ 73879 w 111839"/>
                <a:gd name="connsiteY5" fmla="*/ 109451 h 131960"/>
                <a:gd name="connsiteX6" fmla="*/ 81000 w 111839"/>
                <a:gd name="connsiteY6" fmla="*/ 96031 h 131960"/>
                <a:gd name="connsiteX7" fmla="*/ 76729 w 111839"/>
                <a:gd name="connsiteY7" fmla="*/ 85464 h 131960"/>
                <a:gd name="connsiteX8" fmla="*/ 55305 w 111839"/>
                <a:gd name="connsiteY8" fmla="*/ 73171 h 131960"/>
                <a:gd name="connsiteX9" fmla="*/ 33522 w 111839"/>
                <a:gd name="connsiteY9" fmla="*/ 62901 h 131960"/>
                <a:gd name="connsiteX10" fmla="*/ 21539 w 111839"/>
                <a:gd name="connsiteY10" fmla="*/ 51443 h 131960"/>
                <a:gd name="connsiteX11" fmla="*/ 17501 w 111839"/>
                <a:gd name="connsiteY11" fmla="*/ 36299 h 131960"/>
                <a:gd name="connsiteX12" fmla="*/ 29373 w 111839"/>
                <a:gd name="connsiteY12" fmla="*/ 10653 h 131960"/>
                <a:gd name="connsiteX13" fmla="*/ 62603 w 111839"/>
                <a:gd name="connsiteY13" fmla="*/ -37 h 131960"/>
                <a:gd name="connsiteX14" fmla="*/ 98745 w 111839"/>
                <a:gd name="connsiteY14" fmla="*/ 10951 h 131960"/>
                <a:gd name="connsiteX15" fmla="*/ 111623 w 111839"/>
                <a:gd name="connsiteY15" fmla="*/ 39864 h 131960"/>
                <a:gd name="connsiteX16" fmla="*/ 90629 w 111839"/>
                <a:gd name="connsiteY16" fmla="*/ 41290 h 131960"/>
                <a:gd name="connsiteX17" fmla="*/ 82563 w 111839"/>
                <a:gd name="connsiteY17" fmla="*/ 23238 h 131960"/>
                <a:gd name="connsiteX18" fmla="*/ 61078 w 111839"/>
                <a:gd name="connsiteY18" fmla="*/ 16606 h 131960"/>
                <a:gd name="connsiteX19" fmla="*/ 43748 w 111839"/>
                <a:gd name="connsiteY19" fmla="*/ 21713 h 131960"/>
                <a:gd name="connsiteX20" fmla="*/ 37577 w 111839"/>
                <a:gd name="connsiteY20" fmla="*/ 32767 h 131960"/>
                <a:gd name="connsiteX21" fmla="*/ 42919 w 111839"/>
                <a:gd name="connsiteY21" fmla="*/ 43219 h 131960"/>
                <a:gd name="connsiteX22" fmla="*/ 61316 w 111839"/>
                <a:gd name="connsiteY22" fmla="*/ 52715 h 131960"/>
                <a:gd name="connsiteX23" fmla="*/ 92414 w 111839"/>
                <a:gd name="connsiteY23" fmla="*/ 69578 h 131960"/>
                <a:gd name="connsiteX24" fmla="*/ 102618 w 111839"/>
                <a:gd name="connsiteY24" fmla="*/ 93566 h 131960"/>
                <a:gd name="connsiteX25" fmla="*/ 96861 w 111839"/>
                <a:gd name="connsiteY25" fmla="*/ 111972 h 131960"/>
                <a:gd name="connsiteX26" fmla="*/ 79298 w 111839"/>
                <a:gd name="connsiteY26" fmla="*/ 126398 h 131960"/>
                <a:gd name="connsiteX27" fmla="*/ 51466 w 111839"/>
                <a:gd name="connsiteY27" fmla="*/ 131803 h 131960"/>
                <a:gd name="connsiteX28" fmla="*/ 14313 w 111839"/>
                <a:gd name="connsiteY28" fmla="*/ 120998 h 131960"/>
                <a:gd name="connsiteX29" fmla="*/ -172 w 111839"/>
                <a:gd name="connsiteY29" fmla="*/ 85823 h 1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1839" h="131960">
                  <a:moveTo>
                    <a:pt x="-172" y="85823"/>
                  </a:moveTo>
                  <a:lnTo>
                    <a:pt x="21313" y="84513"/>
                  </a:lnTo>
                  <a:cubicBezTo>
                    <a:pt x="21169" y="89918"/>
                    <a:pt x="22136" y="95296"/>
                    <a:pt x="24158" y="100309"/>
                  </a:cubicBezTo>
                  <a:cubicBezTo>
                    <a:pt x="26340" y="104958"/>
                    <a:pt x="30041" y="108727"/>
                    <a:pt x="34654" y="110994"/>
                  </a:cubicBezTo>
                  <a:cubicBezTo>
                    <a:pt x="40162" y="113862"/>
                    <a:pt x="46306" y="115294"/>
                    <a:pt x="52515" y="115150"/>
                  </a:cubicBezTo>
                  <a:cubicBezTo>
                    <a:pt x="60073" y="115703"/>
                    <a:pt x="67597" y="113696"/>
                    <a:pt x="73879" y="109451"/>
                  </a:cubicBezTo>
                  <a:cubicBezTo>
                    <a:pt x="78254" y="106367"/>
                    <a:pt x="80900" y="101387"/>
                    <a:pt x="81000" y="96031"/>
                  </a:cubicBezTo>
                  <a:cubicBezTo>
                    <a:pt x="80917" y="92102"/>
                    <a:pt x="79398" y="88343"/>
                    <a:pt x="76729" y="85464"/>
                  </a:cubicBezTo>
                  <a:cubicBezTo>
                    <a:pt x="70404" y="80085"/>
                    <a:pt x="63139" y="75918"/>
                    <a:pt x="55305" y="73171"/>
                  </a:cubicBezTo>
                  <a:cubicBezTo>
                    <a:pt x="47847" y="70181"/>
                    <a:pt x="40571" y="66754"/>
                    <a:pt x="33522" y="62901"/>
                  </a:cubicBezTo>
                  <a:cubicBezTo>
                    <a:pt x="28671" y="60094"/>
                    <a:pt x="24561" y="56164"/>
                    <a:pt x="21539" y="51443"/>
                  </a:cubicBezTo>
                  <a:cubicBezTo>
                    <a:pt x="18799" y="46878"/>
                    <a:pt x="17396" y="41627"/>
                    <a:pt x="17501" y="36299"/>
                  </a:cubicBezTo>
                  <a:cubicBezTo>
                    <a:pt x="17462" y="26411"/>
                    <a:pt x="21810" y="17014"/>
                    <a:pt x="29373" y="10653"/>
                  </a:cubicBezTo>
                  <a:cubicBezTo>
                    <a:pt x="38715" y="3036"/>
                    <a:pt x="50576" y="-778"/>
                    <a:pt x="62603" y="-37"/>
                  </a:cubicBezTo>
                  <a:cubicBezTo>
                    <a:pt x="78442" y="-37"/>
                    <a:pt x="90486" y="3628"/>
                    <a:pt x="98745" y="10951"/>
                  </a:cubicBezTo>
                  <a:cubicBezTo>
                    <a:pt x="107015" y="18269"/>
                    <a:pt x="111711" y="28815"/>
                    <a:pt x="111623" y="39864"/>
                  </a:cubicBezTo>
                  <a:lnTo>
                    <a:pt x="90629" y="41290"/>
                  </a:lnTo>
                  <a:cubicBezTo>
                    <a:pt x="90635" y="34398"/>
                    <a:pt x="87701" y="27831"/>
                    <a:pt x="82563" y="23238"/>
                  </a:cubicBezTo>
                  <a:cubicBezTo>
                    <a:pt x="76459" y="18468"/>
                    <a:pt x="68813" y="16108"/>
                    <a:pt x="61078" y="16606"/>
                  </a:cubicBezTo>
                  <a:cubicBezTo>
                    <a:pt x="54880" y="16224"/>
                    <a:pt x="48747" y="18032"/>
                    <a:pt x="43748" y="21713"/>
                  </a:cubicBezTo>
                  <a:cubicBezTo>
                    <a:pt x="40096" y="24250"/>
                    <a:pt x="37820" y="28329"/>
                    <a:pt x="37577" y="32767"/>
                  </a:cubicBezTo>
                  <a:cubicBezTo>
                    <a:pt x="37654" y="36890"/>
                    <a:pt x="39626" y="40743"/>
                    <a:pt x="42919" y="43219"/>
                  </a:cubicBezTo>
                  <a:cubicBezTo>
                    <a:pt x="48659" y="47088"/>
                    <a:pt x="54836" y="50277"/>
                    <a:pt x="61316" y="52715"/>
                  </a:cubicBezTo>
                  <a:cubicBezTo>
                    <a:pt x="72437" y="56822"/>
                    <a:pt x="82906" y="62498"/>
                    <a:pt x="92414" y="69578"/>
                  </a:cubicBezTo>
                  <a:cubicBezTo>
                    <a:pt x="99054" y="75769"/>
                    <a:pt x="102761" y="84485"/>
                    <a:pt x="102618" y="93566"/>
                  </a:cubicBezTo>
                  <a:cubicBezTo>
                    <a:pt x="102524" y="100133"/>
                    <a:pt x="100524" y="106528"/>
                    <a:pt x="96861" y="111972"/>
                  </a:cubicBezTo>
                  <a:cubicBezTo>
                    <a:pt x="92541" y="118395"/>
                    <a:pt x="86436" y="123408"/>
                    <a:pt x="79298" y="126398"/>
                  </a:cubicBezTo>
                  <a:cubicBezTo>
                    <a:pt x="70520" y="130184"/>
                    <a:pt x="61023" y="132030"/>
                    <a:pt x="51466" y="131803"/>
                  </a:cubicBezTo>
                  <a:cubicBezTo>
                    <a:pt x="38251" y="132207"/>
                    <a:pt x="25252" y="128427"/>
                    <a:pt x="14313" y="120998"/>
                  </a:cubicBezTo>
                  <a:cubicBezTo>
                    <a:pt x="4098" y="113774"/>
                    <a:pt x="-731" y="102051"/>
                    <a:pt x="-172" y="85823"/>
                  </a:cubicBezTo>
                  <a:close/>
                </a:path>
              </a:pathLst>
            </a:custGeom>
            <a:solidFill>
              <a:srgbClr val="FFFFFF"/>
            </a:solidFill>
            <a:ln w="550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D19BD9C-0B1B-45D3-A6D6-5DBB63A14919}"/>
                </a:ext>
              </a:extLst>
            </p:cNvPr>
            <p:cNvSpPr/>
            <p:nvPr/>
          </p:nvSpPr>
          <p:spPr>
            <a:xfrm>
              <a:off x="5551752" y="4300156"/>
              <a:ext cx="64509" cy="174129"/>
            </a:xfrm>
            <a:custGeom>
              <a:avLst/>
              <a:gdLst>
                <a:gd name="connsiteX0" fmla="*/ 44450 w 64509"/>
                <a:gd name="connsiteY0" fmla="*/ 154364 h 174129"/>
                <a:gd name="connsiteX1" fmla="*/ 40892 w 64509"/>
                <a:gd name="connsiteY1" fmla="*/ 171940 h 174129"/>
                <a:gd name="connsiteX2" fmla="*/ 25937 w 64509"/>
                <a:gd name="connsiteY2" fmla="*/ 173957 h 174129"/>
                <a:gd name="connsiteX3" fmla="*/ 5496 w 64509"/>
                <a:gd name="connsiteY3" fmla="*/ 167662 h 174129"/>
                <a:gd name="connsiteX4" fmla="*/ -200 w 64509"/>
                <a:gd name="connsiteY4" fmla="*/ 154723 h 174129"/>
                <a:gd name="connsiteX5" fmla="*/ 2888 w 64509"/>
                <a:gd name="connsiteY5" fmla="*/ 135604 h 174129"/>
                <a:gd name="connsiteX6" fmla="*/ 18197 w 64509"/>
                <a:gd name="connsiteY6" fmla="*/ 62336 h 174129"/>
                <a:gd name="connsiteX7" fmla="*/ 1242 w 64509"/>
                <a:gd name="connsiteY7" fmla="*/ 62336 h 174129"/>
                <a:gd name="connsiteX8" fmla="*/ 4684 w 64509"/>
                <a:gd name="connsiteY8" fmla="*/ 45710 h 174129"/>
                <a:gd name="connsiteX9" fmla="*/ 21683 w 64509"/>
                <a:gd name="connsiteY9" fmla="*/ 45710 h 174129"/>
                <a:gd name="connsiteX10" fmla="*/ 28213 w 64509"/>
                <a:gd name="connsiteY10" fmla="*/ 14719 h 174129"/>
                <a:gd name="connsiteX11" fmla="*/ 52781 w 64509"/>
                <a:gd name="connsiteY11" fmla="*/ -128 h 174129"/>
                <a:gd name="connsiteX12" fmla="*/ 43168 w 64509"/>
                <a:gd name="connsiteY12" fmla="*/ 45710 h 174129"/>
                <a:gd name="connsiteX13" fmla="*/ 64294 w 64509"/>
                <a:gd name="connsiteY13" fmla="*/ 45710 h 174129"/>
                <a:gd name="connsiteX14" fmla="*/ 60736 w 64509"/>
                <a:gd name="connsiteY14" fmla="*/ 62336 h 174129"/>
                <a:gd name="connsiteX15" fmla="*/ 39743 w 64509"/>
                <a:gd name="connsiteY15" fmla="*/ 62336 h 174129"/>
                <a:gd name="connsiteX16" fmla="*/ 25141 w 64509"/>
                <a:gd name="connsiteY16" fmla="*/ 132039 h 174129"/>
                <a:gd name="connsiteX17" fmla="*/ 22412 w 64509"/>
                <a:gd name="connsiteY17" fmla="*/ 147952 h 174129"/>
                <a:gd name="connsiteX18" fmla="*/ 24622 w 64509"/>
                <a:gd name="connsiteY18" fmla="*/ 153772 h 174129"/>
                <a:gd name="connsiteX19" fmla="*/ 31804 w 64509"/>
                <a:gd name="connsiteY19" fmla="*/ 155790 h 174129"/>
                <a:gd name="connsiteX20" fmla="*/ 44450 w 64509"/>
                <a:gd name="connsiteY20" fmla="*/ 154364 h 1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509" h="174129">
                  <a:moveTo>
                    <a:pt x="44450" y="154364"/>
                  </a:moveTo>
                  <a:lnTo>
                    <a:pt x="40892" y="171940"/>
                  </a:lnTo>
                  <a:cubicBezTo>
                    <a:pt x="36014" y="173250"/>
                    <a:pt x="30986" y="173924"/>
                    <a:pt x="25937" y="173957"/>
                  </a:cubicBezTo>
                  <a:cubicBezTo>
                    <a:pt x="18595" y="174350"/>
                    <a:pt x="11346" y="172117"/>
                    <a:pt x="5496" y="167662"/>
                  </a:cubicBezTo>
                  <a:cubicBezTo>
                    <a:pt x="1684" y="164473"/>
                    <a:pt x="-421" y="159686"/>
                    <a:pt x="-200" y="154723"/>
                  </a:cubicBezTo>
                  <a:cubicBezTo>
                    <a:pt x="352" y="148283"/>
                    <a:pt x="1386" y="141889"/>
                    <a:pt x="2888" y="135604"/>
                  </a:cubicBezTo>
                  <a:lnTo>
                    <a:pt x="18197" y="62336"/>
                  </a:lnTo>
                  <a:lnTo>
                    <a:pt x="1242" y="62336"/>
                  </a:lnTo>
                  <a:lnTo>
                    <a:pt x="4684" y="45710"/>
                  </a:lnTo>
                  <a:lnTo>
                    <a:pt x="21683" y="45710"/>
                  </a:lnTo>
                  <a:lnTo>
                    <a:pt x="28213" y="14719"/>
                  </a:lnTo>
                  <a:lnTo>
                    <a:pt x="52781" y="-128"/>
                  </a:lnTo>
                  <a:lnTo>
                    <a:pt x="43168" y="45710"/>
                  </a:lnTo>
                  <a:lnTo>
                    <a:pt x="64294" y="45710"/>
                  </a:lnTo>
                  <a:lnTo>
                    <a:pt x="60736" y="62336"/>
                  </a:lnTo>
                  <a:lnTo>
                    <a:pt x="39743" y="62336"/>
                  </a:lnTo>
                  <a:lnTo>
                    <a:pt x="25141" y="132039"/>
                  </a:lnTo>
                  <a:cubicBezTo>
                    <a:pt x="23904" y="137284"/>
                    <a:pt x="22992" y="142596"/>
                    <a:pt x="22412" y="147952"/>
                  </a:cubicBezTo>
                  <a:cubicBezTo>
                    <a:pt x="22274" y="150119"/>
                    <a:pt x="23081" y="152241"/>
                    <a:pt x="24622" y="153772"/>
                  </a:cubicBezTo>
                  <a:cubicBezTo>
                    <a:pt x="26688" y="155309"/>
                    <a:pt x="29240" y="156027"/>
                    <a:pt x="31804" y="155790"/>
                  </a:cubicBezTo>
                  <a:cubicBezTo>
                    <a:pt x="36063" y="155839"/>
                    <a:pt x="40312" y="155358"/>
                    <a:pt x="44450" y="154364"/>
                  </a:cubicBezTo>
                  <a:close/>
                </a:path>
              </a:pathLst>
            </a:custGeom>
            <a:solidFill>
              <a:srgbClr val="FFFFFF"/>
            </a:solidFill>
            <a:ln w="550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408BE28-AD05-4032-9485-B4FC883515F8}"/>
                </a:ext>
              </a:extLst>
            </p:cNvPr>
            <p:cNvSpPr/>
            <p:nvPr/>
          </p:nvSpPr>
          <p:spPr>
            <a:xfrm>
              <a:off x="5612533" y="4343141"/>
              <a:ext cx="93884" cy="128960"/>
            </a:xfrm>
            <a:custGeom>
              <a:avLst/>
              <a:gdLst>
                <a:gd name="connsiteX0" fmla="*/ -216 w 93884"/>
                <a:gd name="connsiteY0" fmla="*/ 128833 h 128960"/>
                <a:gd name="connsiteX1" fmla="*/ 26136 w 93884"/>
                <a:gd name="connsiteY1" fmla="*/ 2724 h 128960"/>
                <a:gd name="connsiteX2" fmla="*/ 45124 w 93884"/>
                <a:gd name="connsiteY2" fmla="*/ 2724 h 128960"/>
                <a:gd name="connsiteX3" fmla="*/ 39788 w 93884"/>
                <a:gd name="connsiteY3" fmla="*/ 28492 h 128960"/>
                <a:gd name="connsiteX4" fmla="*/ 58836 w 93884"/>
                <a:gd name="connsiteY4" fmla="*/ 6881 h 128960"/>
                <a:gd name="connsiteX5" fmla="*/ 77885 w 93884"/>
                <a:gd name="connsiteY5" fmla="*/ -128 h 128960"/>
                <a:gd name="connsiteX6" fmla="*/ 93669 w 93884"/>
                <a:gd name="connsiteY6" fmla="*/ 4504 h 128960"/>
                <a:gd name="connsiteX7" fmla="*/ 84890 w 93884"/>
                <a:gd name="connsiteY7" fmla="*/ 24452 h 128960"/>
                <a:gd name="connsiteX8" fmla="*/ 72664 w 93884"/>
                <a:gd name="connsiteY8" fmla="*/ 20417 h 128960"/>
                <a:gd name="connsiteX9" fmla="*/ 49516 w 93884"/>
                <a:gd name="connsiteY9" fmla="*/ 33002 h 128960"/>
                <a:gd name="connsiteX10" fmla="*/ 30882 w 93884"/>
                <a:gd name="connsiteY10" fmla="*/ 78248 h 128960"/>
                <a:gd name="connsiteX11" fmla="*/ 20203 w 93884"/>
                <a:gd name="connsiteY11" fmla="*/ 128833 h 12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84" h="128960">
                  <a:moveTo>
                    <a:pt x="-216" y="128833"/>
                  </a:moveTo>
                  <a:lnTo>
                    <a:pt x="26136" y="2724"/>
                  </a:lnTo>
                  <a:lnTo>
                    <a:pt x="45124" y="2724"/>
                  </a:lnTo>
                  <a:lnTo>
                    <a:pt x="39788" y="28492"/>
                  </a:lnTo>
                  <a:cubicBezTo>
                    <a:pt x="44903" y="20284"/>
                    <a:pt x="51339" y="12983"/>
                    <a:pt x="58836" y="6881"/>
                  </a:cubicBezTo>
                  <a:cubicBezTo>
                    <a:pt x="64234" y="2503"/>
                    <a:pt x="70935" y="38"/>
                    <a:pt x="77885" y="-128"/>
                  </a:cubicBezTo>
                  <a:cubicBezTo>
                    <a:pt x="83426" y="226"/>
                    <a:pt x="88818" y="1807"/>
                    <a:pt x="93669" y="4504"/>
                  </a:cubicBezTo>
                  <a:lnTo>
                    <a:pt x="84890" y="24452"/>
                  </a:lnTo>
                  <a:cubicBezTo>
                    <a:pt x="81354" y="21826"/>
                    <a:pt x="77067" y="20412"/>
                    <a:pt x="72664" y="20417"/>
                  </a:cubicBezTo>
                  <a:cubicBezTo>
                    <a:pt x="65145" y="20417"/>
                    <a:pt x="57433" y="24612"/>
                    <a:pt x="49516" y="33002"/>
                  </a:cubicBezTo>
                  <a:cubicBezTo>
                    <a:pt x="41600" y="41393"/>
                    <a:pt x="35390" y="56476"/>
                    <a:pt x="30882" y="78248"/>
                  </a:cubicBezTo>
                  <a:lnTo>
                    <a:pt x="20203" y="128833"/>
                  </a:lnTo>
                  <a:close/>
                </a:path>
              </a:pathLst>
            </a:custGeom>
            <a:solidFill>
              <a:srgbClr val="FFFFFF"/>
            </a:solidFill>
            <a:ln w="550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2ED07D2F-98A6-4C4F-BB21-C403DF143095}"/>
                </a:ext>
              </a:extLst>
            </p:cNvPr>
            <p:cNvSpPr/>
            <p:nvPr/>
          </p:nvSpPr>
          <p:spPr>
            <a:xfrm>
              <a:off x="5691435" y="4298017"/>
              <a:ext cx="57803" cy="174084"/>
            </a:xfrm>
            <a:custGeom>
              <a:avLst/>
              <a:gdLst>
                <a:gd name="connsiteX0" fmla="*/ -216 w 57803"/>
                <a:gd name="connsiteY0" fmla="*/ 173957 h 174084"/>
                <a:gd name="connsiteX1" fmla="*/ 26136 w 57803"/>
                <a:gd name="connsiteY1" fmla="*/ 47849 h 174084"/>
                <a:gd name="connsiteX2" fmla="*/ 47616 w 57803"/>
                <a:gd name="connsiteY2" fmla="*/ 47849 h 174084"/>
                <a:gd name="connsiteX3" fmla="*/ 21269 w 57803"/>
                <a:gd name="connsiteY3" fmla="*/ 173957 h 174084"/>
                <a:gd name="connsiteX4" fmla="*/ 31119 w 57803"/>
                <a:gd name="connsiteY4" fmla="*/ 24220 h 174084"/>
                <a:gd name="connsiteX5" fmla="*/ 36224 w 57803"/>
                <a:gd name="connsiteY5" fmla="*/ -128 h 174084"/>
                <a:gd name="connsiteX6" fmla="*/ 57588 w 57803"/>
                <a:gd name="connsiteY6" fmla="*/ -128 h 174084"/>
                <a:gd name="connsiteX7" fmla="*/ 52483 w 57803"/>
                <a:gd name="connsiteY7" fmla="*/ 24220 h 17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3" h="174084">
                  <a:moveTo>
                    <a:pt x="-216" y="173957"/>
                  </a:moveTo>
                  <a:lnTo>
                    <a:pt x="26136" y="47849"/>
                  </a:lnTo>
                  <a:lnTo>
                    <a:pt x="47616" y="47849"/>
                  </a:lnTo>
                  <a:lnTo>
                    <a:pt x="21269" y="173957"/>
                  </a:lnTo>
                  <a:close/>
                  <a:moveTo>
                    <a:pt x="31119" y="24220"/>
                  </a:moveTo>
                  <a:lnTo>
                    <a:pt x="36224" y="-128"/>
                  </a:lnTo>
                  <a:lnTo>
                    <a:pt x="57588" y="-128"/>
                  </a:lnTo>
                  <a:lnTo>
                    <a:pt x="52483" y="24220"/>
                  </a:lnTo>
                  <a:close/>
                </a:path>
              </a:pathLst>
            </a:custGeom>
            <a:solidFill>
              <a:srgbClr val="FFFFFF"/>
            </a:solidFill>
            <a:ln w="550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3EEDA1CD-72A8-43D4-ABB0-B0EA365832AF}"/>
                </a:ext>
              </a:extLst>
            </p:cNvPr>
            <p:cNvSpPr/>
            <p:nvPr/>
          </p:nvSpPr>
          <p:spPr>
            <a:xfrm>
              <a:off x="5749560" y="4343117"/>
              <a:ext cx="116762" cy="131848"/>
            </a:xfrm>
            <a:custGeom>
              <a:avLst/>
              <a:gdLst>
                <a:gd name="connsiteX0" fmla="*/ 87862 w 116762"/>
                <a:gd name="connsiteY0" fmla="*/ 85988 h 131848"/>
                <a:gd name="connsiteX1" fmla="*/ 108750 w 116762"/>
                <a:gd name="connsiteY1" fmla="*/ 88127 h 131848"/>
                <a:gd name="connsiteX2" fmla="*/ 88038 w 116762"/>
                <a:gd name="connsiteY2" fmla="*/ 117697 h 131848"/>
                <a:gd name="connsiteX3" fmla="*/ 49405 w 116762"/>
                <a:gd name="connsiteY3" fmla="*/ 131709 h 131848"/>
                <a:gd name="connsiteX4" fmla="*/ 23710 w 116762"/>
                <a:gd name="connsiteY4" fmla="*/ 125237 h 131848"/>
                <a:gd name="connsiteX5" fmla="*/ 5905 w 116762"/>
                <a:gd name="connsiteY5" fmla="*/ 106444 h 131848"/>
                <a:gd name="connsiteX6" fmla="*/ -205 w 116762"/>
                <a:gd name="connsiteY6" fmla="*/ 78300 h 131848"/>
                <a:gd name="connsiteX7" fmla="*/ 9347 w 116762"/>
                <a:gd name="connsiteY7" fmla="*/ 38222 h 131848"/>
                <a:gd name="connsiteX8" fmla="*/ 34096 w 116762"/>
                <a:gd name="connsiteY8" fmla="*/ 9364 h 131848"/>
                <a:gd name="connsiteX9" fmla="*/ 66973 w 116762"/>
                <a:gd name="connsiteY9" fmla="*/ -76 h 131848"/>
                <a:gd name="connsiteX10" fmla="*/ 102993 w 116762"/>
                <a:gd name="connsiteY10" fmla="*/ 13935 h 131848"/>
                <a:gd name="connsiteX11" fmla="*/ 116468 w 116762"/>
                <a:gd name="connsiteY11" fmla="*/ 52173 h 131848"/>
                <a:gd name="connsiteX12" fmla="*/ 114811 w 116762"/>
                <a:gd name="connsiteY12" fmla="*/ 71175 h 131848"/>
                <a:gd name="connsiteX13" fmla="*/ 21998 w 116762"/>
                <a:gd name="connsiteY13" fmla="*/ 71175 h 131848"/>
                <a:gd name="connsiteX14" fmla="*/ 21523 w 116762"/>
                <a:gd name="connsiteY14" fmla="*/ 77808 h 131848"/>
                <a:gd name="connsiteX15" fmla="*/ 29655 w 116762"/>
                <a:gd name="connsiteY15" fmla="*/ 104825 h 131848"/>
                <a:gd name="connsiteX16" fmla="*/ 49543 w 116762"/>
                <a:gd name="connsiteY16" fmla="*/ 114143 h 131848"/>
                <a:gd name="connsiteX17" fmla="*/ 71266 w 116762"/>
                <a:gd name="connsiteY17" fmla="*/ 106903 h 131848"/>
                <a:gd name="connsiteX18" fmla="*/ 87862 w 116762"/>
                <a:gd name="connsiteY18" fmla="*/ 85988 h 131848"/>
                <a:gd name="connsiteX19" fmla="*/ 25434 w 116762"/>
                <a:gd name="connsiteY19" fmla="*/ 54759 h 131848"/>
                <a:gd name="connsiteX20" fmla="*/ 96176 w 116762"/>
                <a:gd name="connsiteY20" fmla="*/ 54759 h 131848"/>
                <a:gd name="connsiteX21" fmla="*/ 96292 w 116762"/>
                <a:gd name="connsiteY21" fmla="*/ 50011 h 131848"/>
                <a:gd name="connsiteX22" fmla="*/ 88221 w 116762"/>
                <a:gd name="connsiteY22" fmla="*/ 25249 h 131848"/>
                <a:gd name="connsiteX23" fmla="*/ 67454 w 116762"/>
                <a:gd name="connsiteY23" fmla="*/ 16643 h 131848"/>
                <a:gd name="connsiteX24" fmla="*/ 42350 w 116762"/>
                <a:gd name="connsiteY24" fmla="*/ 26139 h 131848"/>
                <a:gd name="connsiteX25" fmla="*/ 25428 w 116762"/>
                <a:gd name="connsiteY25" fmla="*/ 54759 h 13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762" h="131848">
                  <a:moveTo>
                    <a:pt x="87862" y="85988"/>
                  </a:moveTo>
                  <a:lnTo>
                    <a:pt x="108750" y="88127"/>
                  </a:lnTo>
                  <a:cubicBezTo>
                    <a:pt x="104866" y="99789"/>
                    <a:pt x="97668" y="110064"/>
                    <a:pt x="88038" y="117697"/>
                  </a:cubicBezTo>
                  <a:cubicBezTo>
                    <a:pt x="77343" y="127000"/>
                    <a:pt x="63576" y="131996"/>
                    <a:pt x="49405" y="131709"/>
                  </a:cubicBezTo>
                  <a:cubicBezTo>
                    <a:pt x="40428" y="131797"/>
                    <a:pt x="31577" y="129570"/>
                    <a:pt x="23710" y="125237"/>
                  </a:cubicBezTo>
                  <a:cubicBezTo>
                    <a:pt x="15959" y="120981"/>
                    <a:pt x="9739" y="114414"/>
                    <a:pt x="5905" y="106444"/>
                  </a:cubicBezTo>
                  <a:cubicBezTo>
                    <a:pt x="1706" y="97667"/>
                    <a:pt x="-382" y="88028"/>
                    <a:pt x="-205" y="78300"/>
                  </a:cubicBezTo>
                  <a:cubicBezTo>
                    <a:pt x="-172" y="64382"/>
                    <a:pt x="3098" y="50658"/>
                    <a:pt x="9347" y="38222"/>
                  </a:cubicBezTo>
                  <a:cubicBezTo>
                    <a:pt x="14700" y="26449"/>
                    <a:pt x="23279" y="16444"/>
                    <a:pt x="34096" y="9364"/>
                  </a:cubicBezTo>
                  <a:cubicBezTo>
                    <a:pt x="43936" y="3152"/>
                    <a:pt x="55338" y="-120"/>
                    <a:pt x="66973" y="-76"/>
                  </a:cubicBezTo>
                  <a:cubicBezTo>
                    <a:pt x="80420" y="-701"/>
                    <a:pt x="93502" y="4390"/>
                    <a:pt x="102993" y="13935"/>
                  </a:cubicBezTo>
                  <a:cubicBezTo>
                    <a:pt x="112385" y="24382"/>
                    <a:pt x="117236" y="38139"/>
                    <a:pt x="116468" y="52173"/>
                  </a:cubicBezTo>
                  <a:cubicBezTo>
                    <a:pt x="116451" y="58540"/>
                    <a:pt x="115899" y="64896"/>
                    <a:pt x="114811" y="71175"/>
                  </a:cubicBezTo>
                  <a:lnTo>
                    <a:pt x="21998" y="71175"/>
                  </a:lnTo>
                  <a:cubicBezTo>
                    <a:pt x="21699" y="73375"/>
                    <a:pt x="21539" y="75591"/>
                    <a:pt x="21523" y="77808"/>
                  </a:cubicBezTo>
                  <a:cubicBezTo>
                    <a:pt x="20854" y="87502"/>
                    <a:pt x="23743" y="97109"/>
                    <a:pt x="29655" y="104825"/>
                  </a:cubicBezTo>
                  <a:cubicBezTo>
                    <a:pt x="34533" y="110783"/>
                    <a:pt x="41848" y="114210"/>
                    <a:pt x="49543" y="114143"/>
                  </a:cubicBezTo>
                  <a:cubicBezTo>
                    <a:pt x="57349" y="114000"/>
                    <a:pt x="64929" y="111474"/>
                    <a:pt x="71266" y="106903"/>
                  </a:cubicBezTo>
                  <a:cubicBezTo>
                    <a:pt x="78696" y="101680"/>
                    <a:pt x="84464" y="94417"/>
                    <a:pt x="87862" y="85988"/>
                  </a:cubicBezTo>
                  <a:close/>
                  <a:moveTo>
                    <a:pt x="25434" y="54759"/>
                  </a:moveTo>
                  <a:lnTo>
                    <a:pt x="96176" y="54759"/>
                  </a:lnTo>
                  <a:cubicBezTo>
                    <a:pt x="96253" y="52548"/>
                    <a:pt x="96292" y="50962"/>
                    <a:pt x="96292" y="50011"/>
                  </a:cubicBezTo>
                  <a:cubicBezTo>
                    <a:pt x="96900" y="41024"/>
                    <a:pt x="94005" y="32153"/>
                    <a:pt x="88221" y="25249"/>
                  </a:cubicBezTo>
                  <a:cubicBezTo>
                    <a:pt x="82862" y="19518"/>
                    <a:pt x="75293" y="16384"/>
                    <a:pt x="67454" y="16643"/>
                  </a:cubicBezTo>
                  <a:cubicBezTo>
                    <a:pt x="58211" y="16666"/>
                    <a:pt x="49295" y="20037"/>
                    <a:pt x="42350" y="26139"/>
                  </a:cubicBezTo>
                  <a:cubicBezTo>
                    <a:pt x="33992" y="33783"/>
                    <a:pt x="28102" y="43749"/>
                    <a:pt x="25428" y="54759"/>
                  </a:cubicBezTo>
                  <a:close/>
                </a:path>
              </a:pathLst>
            </a:custGeom>
            <a:solidFill>
              <a:srgbClr val="FFFFFF"/>
            </a:solidFill>
            <a:ln w="550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6D96F9F2-1E5C-4E5C-A7E9-9C9A127303EB}"/>
                </a:ext>
              </a:extLst>
            </p:cNvPr>
            <p:cNvSpPr/>
            <p:nvPr/>
          </p:nvSpPr>
          <p:spPr>
            <a:xfrm>
              <a:off x="5881006" y="4343050"/>
              <a:ext cx="111839" cy="131960"/>
            </a:xfrm>
            <a:custGeom>
              <a:avLst/>
              <a:gdLst>
                <a:gd name="connsiteX0" fmla="*/ -173 w 111839"/>
                <a:gd name="connsiteY0" fmla="*/ 85823 h 131960"/>
                <a:gd name="connsiteX1" fmla="*/ 21313 w 111839"/>
                <a:gd name="connsiteY1" fmla="*/ 84513 h 131960"/>
                <a:gd name="connsiteX2" fmla="*/ 24158 w 111839"/>
                <a:gd name="connsiteY2" fmla="*/ 100309 h 131960"/>
                <a:gd name="connsiteX3" fmla="*/ 34654 w 111839"/>
                <a:gd name="connsiteY3" fmla="*/ 110994 h 131960"/>
                <a:gd name="connsiteX4" fmla="*/ 52515 w 111839"/>
                <a:gd name="connsiteY4" fmla="*/ 115150 h 131960"/>
                <a:gd name="connsiteX5" fmla="*/ 73879 w 111839"/>
                <a:gd name="connsiteY5" fmla="*/ 109451 h 131960"/>
                <a:gd name="connsiteX6" fmla="*/ 81000 w 111839"/>
                <a:gd name="connsiteY6" fmla="*/ 96031 h 131960"/>
                <a:gd name="connsiteX7" fmla="*/ 76730 w 111839"/>
                <a:gd name="connsiteY7" fmla="*/ 85464 h 131960"/>
                <a:gd name="connsiteX8" fmla="*/ 55305 w 111839"/>
                <a:gd name="connsiteY8" fmla="*/ 73171 h 131960"/>
                <a:gd name="connsiteX9" fmla="*/ 33522 w 111839"/>
                <a:gd name="connsiteY9" fmla="*/ 62901 h 131960"/>
                <a:gd name="connsiteX10" fmla="*/ 21534 w 111839"/>
                <a:gd name="connsiteY10" fmla="*/ 51443 h 131960"/>
                <a:gd name="connsiteX11" fmla="*/ 17501 w 111839"/>
                <a:gd name="connsiteY11" fmla="*/ 36299 h 131960"/>
                <a:gd name="connsiteX12" fmla="*/ 29367 w 111839"/>
                <a:gd name="connsiteY12" fmla="*/ 10653 h 131960"/>
                <a:gd name="connsiteX13" fmla="*/ 62603 w 111839"/>
                <a:gd name="connsiteY13" fmla="*/ -37 h 131960"/>
                <a:gd name="connsiteX14" fmla="*/ 98745 w 111839"/>
                <a:gd name="connsiteY14" fmla="*/ 10951 h 131960"/>
                <a:gd name="connsiteX15" fmla="*/ 111623 w 111839"/>
                <a:gd name="connsiteY15" fmla="*/ 39864 h 131960"/>
                <a:gd name="connsiteX16" fmla="*/ 90629 w 111839"/>
                <a:gd name="connsiteY16" fmla="*/ 41290 h 131960"/>
                <a:gd name="connsiteX17" fmla="*/ 82558 w 111839"/>
                <a:gd name="connsiteY17" fmla="*/ 23238 h 131960"/>
                <a:gd name="connsiteX18" fmla="*/ 61078 w 111839"/>
                <a:gd name="connsiteY18" fmla="*/ 16606 h 131960"/>
                <a:gd name="connsiteX19" fmla="*/ 43748 w 111839"/>
                <a:gd name="connsiteY19" fmla="*/ 21713 h 131960"/>
                <a:gd name="connsiteX20" fmla="*/ 37577 w 111839"/>
                <a:gd name="connsiteY20" fmla="*/ 32767 h 131960"/>
                <a:gd name="connsiteX21" fmla="*/ 42919 w 111839"/>
                <a:gd name="connsiteY21" fmla="*/ 43219 h 131960"/>
                <a:gd name="connsiteX22" fmla="*/ 61316 w 111839"/>
                <a:gd name="connsiteY22" fmla="*/ 52715 h 131960"/>
                <a:gd name="connsiteX23" fmla="*/ 92414 w 111839"/>
                <a:gd name="connsiteY23" fmla="*/ 69578 h 131960"/>
                <a:gd name="connsiteX24" fmla="*/ 102618 w 111839"/>
                <a:gd name="connsiteY24" fmla="*/ 93566 h 131960"/>
                <a:gd name="connsiteX25" fmla="*/ 96861 w 111839"/>
                <a:gd name="connsiteY25" fmla="*/ 111972 h 131960"/>
                <a:gd name="connsiteX26" fmla="*/ 79298 w 111839"/>
                <a:gd name="connsiteY26" fmla="*/ 126398 h 131960"/>
                <a:gd name="connsiteX27" fmla="*/ 51466 w 111839"/>
                <a:gd name="connsiteY27" fmla="*/ 131803 h 131960"/>
                <a:gd name="connsiteX28" fmla="*/ 14313 w 111839"/>
                <a:gd name="connsiteY28" fmla="*/ 120998 h 131960"/>
                <a:gd name="connsiteX29" fmla="*/ -173 w 111839"/>
                <a:gd name="connsiteY29" fmla="*/ 85823 h 13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1839" h="131960">
                  <a:moveTo>
                    <a:pt x="-173" y="85823"/>
                  </a:moveTo>
                  <a:lnTo>
                    <a:pt x="21313" y="84513"/>
                  </a:lnTo>
                  <a:cubicBezTo>
                    <a:pt x="21169" y="89918"/>
                    <a:pt x="22136" y="95296"/>
                    <a:pt x="24158" y="100309"/>
                  </a:cubicBezTo>
                  <a:cubicBezTo>
                    <a:pt x="26340" y="104958"/>
                    <a:pt x="30041" y="108727"/>
                    <a:pt x="34654" y="110994"/>
                  </a:cubicBezTo>
                  <a:cubicBezTo>
                    <a:pt x="40163" y="113862"/>
                    <a:pt x="46306" y="115294"/>
                    <a:pt x="52515" y="115150"/>
                  </a:cubicBezTo>
                  <a:cubicBezTo>
                    <a:pt x="60073" y="115703"/>
                    <a:pt x="67598" y="113696"/>
                    <a:pt x="73879" y="109451"/>
                  </a:cubicBezTo>
                  <a:cubicBezTo>
                    <a:pt x="78254" y="106367"/>
                    <a:pt x="80895" y="101382"/>
                    <a:pt x="81000" y="96031"/>
                  </a:cubicBezTo>
                  <a:cubicBezTo>
                    <a:pt x="80917" y="92102"/>
                    <a:pt x="79398" y="88343"/>
                    <a:pt x="76730" y="85464"/>
                  </a:cubicBezTo>
                  <a:cubicBezTo>
                    <a:pt x="70404" y="80085"/>
                    <a:pt x="63139" y="75918"/>
                    <a:pt x="55305" y="73171"/>
                  </a:cubicBezTo>
                  <a:cubicBezTo>
                    <a:pt x="47847" y="70181"/>
                    <a:pt x="40571" y="66754"/>
                    <a:pt x="33522" y="62901"/>
                  </a:cubicBezTo>
                  <a:cubicBezTo>
                    <a:pt x="28671" y="60094"/>
                    <a:pt x="24561" y="56164"/>
                    <a:pt x="21534" y="51443"/>
                  </a:cubicBezTo>
                  <a:cubicBezTo>
                    <a:pt x="18793" y="46873"/>
                    <a:pt x="17396" y="41627"/>
                    <a:pt x="17501" y="36299"/>
                  </a:cubicBezTo>
                  <a:cubicBezTo>
                    <a:pt x="17456" y="26411"/>
                    <a:pt x="21804" y="17020"/>
                    <a:pt x="29367" y="10653"/>
                  </a:cubicBezTo>
                  <a:cubicBezTo>
                    <a:pt x="38710" y="3036"/>
                    <a:pt x="50576" y="-778"/>
                    <a:pt x="62603" y="-37"/>
                  </a:cubicBezTo>
                  <a:cubicBezTo>
                    <a:pt x="78442" y="-37"/>
                    <a:pt x="90486" y="3628"/>
                    <a:pt x="98745" y="10951"/>
                  </a:cubicBezTo>
                  <a:cubicBezTo>
                    <a:pt x="107015" y="18269"/>
                    <a:pt x="111711" y="28815"/>
                    <a:pt x="111623" y="39864"/>
                  </a:cubicBezTo>
                  <a:lnTo>
                    <a:pt x="90629" y="41290"/>
                  </a:lnTo>
                  <a:cubicBezTo>
                    <a:pt x="90635" y="34398"/>
                    <a:pt x="87696" y="27831"/>
                    <a:pt x="82558" y="23238"/>
                  </a:cubicBezTo>
                  <a:cubicBezTo>
                    <a:pt x="76453" y="18468"/>
                    <a:pt x="68807" y="16108"/>
                    <a:pt x="61078" y="16606"/>
                  </a:cubicBezTo>
                  <a:cubicBezTo>
                    <a:pt x="54880" y="16224"/>
                    <a:pt x="48748" y="18032"/>
                    <a:pt x="43748" y="21713"/>
                  </a:cubicBezTo>
                  <a:cubicBezTo>
                    <a:pt x="40096" y="24250"/>
                    <a:pt x="37820" y="28329"/>
                    <a:pt x="37577" y="32767"/>
                  </a:cubicBezTo>
                  <a:cubicBezTo>
                    <a:pt x="37654" y="36890"/>
                    <a:pt x="39627" y="40743"/>
                    <a:pt x="42919" y="43219"/>
                  </a:cubicBezTo>
                  <a:cubicBezTo>
                    <a:pt x="48659" y="47088"/>
                    <a:pt x="54836" y="50277"/>
                    <a:pt x="61316" y="52715"/>
                  </a:cubicBezTo>
                  <a:cubicBezTo>
                    <a:pt x="72437" y="56822"/>
                    <a:pt x="82906" y="62498"/>
                    <a:pt x="92414" y="69578"/>
                  </a:cubicBezTo>
                  <a:cubicBezTo>
                    <a:pt x="99054" y="75769"/>
                    <a:pt x="102761" y="84485"/>
                    <a:pt x="102618" y="93566"/>
                  </a:cubicBezTo>
                  <a:cubicBezTo>
                    <a:pt x="102524" y="100133"/>
                    <a:pt x="100524" y="106528"/>
                    <a:pt x="96861" y="111972"/>
                  </a:cubicBezTo>
                  <a:cubicBezTo>
                    <a:pt x="92541" y="118395"/>
                    <a:pt x="86436" y="123408"/>
                    <a:pt x="79298" y="126398"/>
                  </a:cubicBezTo>
                  <a:cubicBezTo>
                    <a:pt x="70520" y="130184"/>
                    <a:pt x="61023" y="132030"/>
                    <a:pt x="51466" y="131803"/>
                  </a:cubicBezTo>
                  <a:cubicBezTo>
                    <a:pt x="38251" y="132207"/>
                    <a:pt x="25252" y="128427"/>
                    <a:pt x="14313" y="120998"/>
                  </a:cubicBezTo>
                  <a:cubicBezTo>
                    <a:pt x="4098" y="113774"/>
                    <a:pt x="-730" y="102051"/>
                    <a:pt x="-173" y="85823"/>
                  </a:cubicBezTo>
                  <a:close/>
                </a:path>
              </a:pathLst>
            </a:custGeom>
            <a:solidFill>
              <a:srgbClr val="FFFFFF"/>
            </a:solidFill>
            <a:ln w="5506"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A205CFA3-9518-499D-B45B-AD9D484F1E06}"/>
                </a:ext>
              </a:extLst>
            </p:cNvPr>
            <p:cNvSpPr/>
            <p:nvPr/>
          </p:nvSpPr>
          <p:spPr>
            <a:xfrm>
              <a:off x="6071217" y="4300156"/>
              <a:ext cx="64482" cy="174129"/>
            </a:xfrm>
            <a:custGeom>
              <a:avLst/>
              <a:gdLst>
                <a:gd name="connsiteX0" fmla="*/ 44450 w 64482"/>
                <a:gd name="connsiteY0" fmla="*/ 154364 h 174129"/>
                <a:gd name="connsiteX1" fmla="*/ 40892 w 64482"/>
                <a:gd name="connsiteY1" fmla="*/ 171940 h 174129"/>
                <a:gd name="connsiteX2" fmla="*/ 25937 w 64482"/>
                <a:gd name="connsiteY2" fmla="*/ 173957 h 174129"/>
                <a:gd name="connsiteX3" fmla="*/ 5496 w 64482"/>
                <a:gd name="connsiteY3" fmla="*/ 167662 h 174129"/>
                <a:gd name="connsiteX4" fmla="*/ -200 w 64482"/>
                <a:gd name="connsiteY4" fmla="*/ 154723 h 174129"/>
                <a:gd name="connsiteX5" fmla="*/ 2888 w 64482"/>
                <a:gd name="connsiteY5" fmla="*/ 135604 h 174129"/>
                <a:gd name="connsiteX6" fmla="*/ 18213 w 64482"/>
                <a:gd name="connsiteY6" fmla="*/ 62336 h 174129"/>
                <a:gd name="connsiteX7" fmla="*/ 1242 w 64482"/>
                <a:gd name="connsiteY7" fmla="*/ 62336 h 174129"/>
                <a:gd name="connsiteX8" fmla="*/ 4684 w 64482"/>
                <a:gd name="connsiteY8" fmla="*/ 45710 h 174129"/>
                <a:gd name="connsiteX9" fmla="*/ 21655 w 64482"/>
                <a:gd name="connsiteY9" fmla="*/ 45710 h 174129"/>
                <a:gd name="connsiteX10" fmla="*/ 28185 w 64482"/>
                <a:gd name="connsiteY10" fmla="*/ 14719 h 174129"/>
                <a:gd name="connsiteX11" fmla="*/ 52753 w 64482"/>
                <a:gd name="connsiteY11" fmla="*/ -128 h 174129"/>
                <a:gd name="connsiteX12" fmla="*/ 43140 w 64482"/>
                <a:gd name="connsiteY12" fmla="*/ 45710 h 174129"/>
                <a:gd name="connsiteX13" fmla="*/ 64266 w 64482"/>
                <a:gd name="connsiteY13" fmla="*/ 45710 h 174129"/>
                <a:gd name="connsiteX14" fmla="*/ 60708 w 64482"/>
                <a:gd name="connsiteY14" fmla="*/ 62336 h 174129"/>
                <a:gd name="connsiteX15" fmla="*/ 39715 w 64482"/>
                <a:gd name="connsiteY15" fmla="*/ 62336 h 174129"/>
                <a:gd name="connsiteX16" fmla="*/ 25114 w 64482"/>
                <a:gd name="connsiteY16" fmla="*/ 132039 h 174129"/>
                <a:gd name="connsiteX17" fmla="*/ 22384 w 64482"/>
                <a:gd name="connsiteY17" fmla="*/ 147952 h 174129"/>
                <a:gd name="connsiteX18" fmla="*/ 24594 w 64482"/>
                <a:gd name="connsiteY18" fmla="*/ 153772 h 174129"/>
                <a:gd name="connsiteX19" fmla="*/ 31776 w 64482"/>
                <a:gd name="connsiteY19" fmla="*/ 155790 h 174129"/>
                <a:gd name="connsiteX20" fmla="*/ 44450 w 64482"/>
                <a:gd name="connsiteY20" fmla="*/ 154364 h 1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482" h="174129">
                  <a:moveTo>
                    <a:pt x="44450" y="154364"/>
                  </a:moveTo>
                  <a:lnTo>
                    <a:pt x="40892" y="171940"/>
                  </a:lnTo>
                  <a:cubicBezTo>
                    <a:pt x="36013" y="173250"/>
                    <a:pt x="30986" y="173924"/>
                    <a:pt x="25937" y="173957"/>
                  </a:cubicBezTo>
                  <a:cubicBezTo>
                    <a:pt x="18595" y="174350"/>
                    <a:pt x="11346" y="172117"/>
                    <a:pt x="5496" y="167662"/>
                  </a:cubicBezTo>
                  <a:cubicBezTo>
                    <a:pt x="1684" y="164473"/>
                    <a:pt x="-421" y="159686"/>
                    <a:pt x="-200" y="154723"/>
                  </a:cubicBezTo>
                  <a:cubicBezTo>
                    <a:pt x="352" y="148283"/>
                    <a:pt x="1385" y="141889"/>
                    <a:pt x="2888" y="135604"/>
                  </a:cubicBezTo>
                  <a:lnTo>
                    <a:pt x="18213" y="62336"/>
                  </a:lnTo>
                  <a:lnTo>
                    <a:pt x="1242" y="62336"/>
                  </a:lnTo>
                  <a:lnTo>
                    <a:pt x="4684" y="45710"/>
                  </a:lnTo>
                  <a:lnTo>
                    <a:pt x="21655" y="45710"/>
                  </a:lnTo>
                  <a:lnTo>
                    <a:pt x="28185" y="14719"/>
                  </a:lnTo>
                  <a:lnTo>
                    <a:pt x="52753" y="-128"/>
                  </a:lnTo>
                  <a:lnTo>
                    <a:pt x="43140" y="45710"/>
                  </a:lnTo>
                  <a:lnTo>
                    <a:pt x="64266" y="45710"/>
                  </a:lnTo>
                  <a:lnTo>
                    <a:pt x="60708" y="62336"/>
                  </a:lnTo>
                  <a:lnTo>
                    <a:pt x="39715" y="62336"/>
                  </a:lnTo>
                  <a:lnTo>
                    <a:pt x="25114" y="132039"/>
                  </a:lnTo>
                  <a:cubicBezTo>
                    <a:pt x="23876" y="137284"/>
                    <a:pt x="22964" y="142596"/>
                    <a:pt x="22384" y="147952"/>
                  </a:cubicBezTo>
                  <a:cubicBezTo>
                    <a:pt x="22241" y="150119"/>
                    <a:pt x="23047" y="152246"/>
                    <a:pt x="24594" y="153772"/>
                  </a:cubicBezTo>
                  <a:cubicBezTo>
                    <a:pt x="26655" y="155309"/>
                    <a:pt x="29213" y="156027"/>
                    <a:pt x="31776" y="155790"/>
                  </a:cubicBezTo>
                  <a:cubicBezTo>
                    <a:pt x="36041" y="155839"/>
                    <a:pt x="40301" y="155364"/>
                    <a:pt x="44450" y="154364"/>
                  </a:cubicBezTo>
                  <a:close/>
                </a:path>
              </a:pathLst>
            </a:custGeom>
            <a:solidFill>
              <a:srgbClr val="FFFFFF"/>
            </a:solidFill>
            <a:ln w="5506"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AFF49087-4993-4FFC-8E5F-8156749F9E4E}"/>
                </a:ext>
              </a:extLst>
            </p:cNvPr>
            <p:cNvSpPr/>
            <p:nvPr/>
          </p:nvSpPr>
          <p:spPr>
            <a:xfrm>
              <a:off x="6131997" y="4297995"/>
              <a:ext cx="120471" cy="174134"/>
            </a:xfrm>
            <a:custGeom>
              <a:avLst/>
              <a:gdLst>
                <a:gd name="connsiteX0" fmla="*/ -216 w 120471"/>
                <a:gd name="connsiteY0" fmla="*/ 173979 h 174134"/>
                <a:gd name="connsiteX1" fmla="*/ 36097 w 120471"/>
                <a:gd name="connsiteY1" fmla="*/ -128 h 174134"/>
                <a:gd name="connsiteX2" fmla="*/ 57582 w 120471"/>
                <a:gd name="connsiteY2" fmla="*/ -128 h 174134"/>
                <a:gd name="connsiteX3" fmla="*/ 43693 w 120471"/>
                <a:gd name="connsiteY3" fmla="*/ 66752 h 174134"/>
                <a:gd name="connsiteX4" fmla="*/ 66007 w 120471"/>
                <a:gd name="connsiteY4" fmla="*/ 50065 h 174134"/>
                <a:gd name="connsiteX5" fmla="*/ 87255 w 120471"/>
                <a:gd name="connsiteY5" fmla="*/ 45019 h 174134"/>
                <a:gd name="connsiteX6" fmla="*/ 111563 w 120471"/>
                <a:gd name="connsiteY6" fmla="*/ 53271 h 174134"/>
                <a:gd name="connsiteX7" fmla="*/ 120231 w 120471"/>
                <a:gd name="connsiteY7" fmla="*/ 75065 h 174134"/>
                <a:gd name="connsiteX8" fmla="*/ 116430 w 120471"/>
                <a:gd name="connsiteY8" fmla="*/ 99528 h 174134"/>
                <a:gd name="connsiteX9" fmla="*/ 100884 w 120471"/>
                <a:gd name="connsiteY9" fmla="*/ 173979 h 174134"/>
                <a:gd name="connsiteX10" fmla="*/ 79399 w 120471"/>
                <a:gd name="connsiteY10" fmla="*/ 173979 h 174134"/>
                <a:gd name="connsiteX11" fmla="*/ 95420 w 120471"/>
                <a:gd name="connsiteY11" fmla="*/ 97627 h 174134"/>
                <a:gd name="connsiteX12" fmla="*/ 98862 w 120471"/>
                <a:gd name="connsiteY12" fmla="*/ 76728 h 174134"/>
                <a:gd name="connsiteX13" fmla="*/ 94586 w 120471"/>
                <a:gd name="connsiteY13" fmla="*/ 66630 h 174134"/>
                <a:gd name="connsiteX14" fmla="*/ 82244 w 120471"/>
                <a:gd name="connsiteY14" fmla="*/ 62711 h 174134"/>
                <a:gd name="connsiteX15" fmla="*/ 43495 w 120471"/>
                <a:gd name="connsiteY15" fmla="*/ 85572 h 174134"/>
                <a:gd name="connsiteX16" fmla="*/ 32512 w 120471"/>
                <a:gd name="connsiteY16" fmla="*/ 119841 h 174134"/>
                <a:gd name="connsiteX17" fmla="*/ 21236 w 120471"/>
                <a:gd name="connsiteY17" fmla="*/ 174007 h 17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471" h="174134">
                  <a:moveTo>
                    <a:pt x="-216" y="173979"/>
                  </a:moveTo>
                  <a:lnTo>
                    <a:pt x="36097" y="-128"/>
                  </a:lnTo>
                  <a:lnTo>
                    <a:pt x="57582" y="-128"/>
                  </a:lnTo>
                  <a:lnTo>
                    <a:pt x="43693" y="66752"/>
                  </a:lnTo>
                  <a:cubicBezTo>
                    <a:pt x="50229" y="60075"/>
                    <a:pt x="57754" y="54448"/>
                    <a:pt x="66007" y="50065"/>
                  </a:cubicBezTo>
                  <a:cubicBezTo>
                    <a:pt x="72609" y="46771"/>
                    <a:pt x="79879" y="45046"/>
                    <a:pt x="87255" y="45019"/>
                  </a:cubicBezTo>
                  <a:cubicBezTo>
                    <a:pt x="96127" y="44472"/>
                    <a:pt x="104856" y="47434"/>
                    <a:pt x="111563" y="53271"/>
                  </a:cubicBezTo>
                  <a:cubicBezTo>
                    <a:pt x="117419" y="58969"/>
                    <a:pt x="120573" y="66896"/>
                    <a:pt x="120231" y="75065"/>
                  </a:cubicBezTo>
                  <a:cubicBezTo>
                    <a:pt x="119678" y="83317"/>
                    <a:pt x="118408" y="91502"/>
                    <a:pt x="116430" y="99528"/>
                  </a:cubicBezTo>
                  <a:lnTo>
                    <a:pt x="100884" y="173979"/>
                  </a:lnTo>
                  <a:lnTo>
                    <a:pt x="79399" y="173979"/>
                  </a:lnTo>
                  <a:lnTo>
                    <a:pt x="95420" y="97627"/>
                  </a:lnTo>
                  <a:cubicBezTo>
                    <a:pt x="97072" y="90751"/>
                    <a:pt x="98221" y="83770"/>
                    <a:pt x="98862" y="76728"/>
                  </a:cubicBezTo>
                  <a:cubicBezTo>
                    <a:pt x="98983" y="72898"/>
                    <a:pt x="97420" y="69206"/>
                    <a:pt x="94586" y="66630"/>
                  </a:cubicBezTo>
                  <a:cubicBezTo>
                    <a:pt x="91116" y="63811"/>
                    <a:pt x="86708" y="62407"/>
                    <a:pt x="82244" y="62711"/>
                  </a:cubicBezTo>
                  <a:cubicBezTo>
                    <a:pt x="66178" y="62883"/>
                    <a:pt x="51422" y="71594"/>
                    <a:pt x="43495" y="85572"/>
                  </a:cubicBezTo>
                  <a:cubicBezTo>
                    <a:pt x="38241" y="96422"/>
                    <a:pt x="34539" y="107957"/>
                    <a:pt x="32512" y="119841"/>
                  </a:cubicBezTo>
                  <a:lnTo>
                    <a:pt x="21236" y="174007"/>
                  </a:lnTo>
                  <a:close/>
                </a:path>
              </a:pathLst>
            </a:custGeom>
            <a:solidFill>
              <a:srgbClr val="FFFFFF"/>
            </a:solidFill>
            <a:ln w="550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F37D8F18-7EDA-40D8-8442-27C2B2F854DA}"/>
                </a:ext>
              </a:extLst>
            </p:cNvPr>
            <p:cNvSpPr/>
            <p:nvPr/>
          </p:nvSpPr>
          <p:spPr>
            <a:xfrm>
              <a:off x="6268545" y="4343080"/>
              <a:ext cx="117273" cy="131913"/>
            </a:xfrm>
            <a:custGeom>
              <a:avLst/>
              <a:gdLst>
                <a:gd name="connsiteX0" fmla="*/ 82197 w 117273"/>
                <a:gd name="connsiteY0" fmla="*/ 113219 h 131913"/>
                <a:gd name="connsiteX1" fmla="*/ 60711 w 117273"/>
                <a:gd name="connsiteY1" fmla="*/ 127292 h 131913"/>
                <a:gd name="connsiteX2" fmla="*/ 38613 w 117273"/>
                <a:gd name="connsiteY2" fmla="*/ 131746 h 131913"/>
                <a:gd name="connsiteX3" fmla="*/ 10482 w 117273"/>
                <a:gd name="connsiteY3" fmla="*/ 121477 h 131913"/>
                <a:gd name="connsiteX4" fmla="*/ -197 w 117273"/>
                <a:gd name="connsiteY4" fmla="*/ 95173 h 131913"/>
                <a:gd name="connsiteX5" fmla="*/ 4610 w 117273"/>
                <a:gd name="connsiteY5" fmla="*/ 76469 h 131913"/>
                <a:gd name="connsiteX6" fmla="*/ 17371 w 117273"/>
                <a:gd name="connsiteY6" fmla="*/ 63408 h 131913"/>
                <a:gd name="connsiteX7" fmla="*/ 36834 w 117273"/>
                <a:gd name="connsiteY7" fmla="*/ 56339 h 131913"/>
                <a:gd name="connsiteX8" fmla="*/ 64314 w 117273"/>
                <a:gd name="connsiteY8" fmla="*/ 54084 h 131913"/>
                <a:gd name="connsiteX9" fmla="*/ 93334 w 117273"/>
                <a:gd name="connsiteY9" fmla="*/ 49811 h 131913"/>
                <a:gd name="connsiteX10" fmla="*/ 95826 w 117273"/>
                <a:gd name="connsiteY10" fmla="*/ 35203 h 131913"/>
                <a:gd name="connsiteX11" fmla="*/ 90362 w 117273"/>
                <a:gd name="connsiteY11" fmla="*/ 23446 h 131913"/>
                <a:gd name="connsiteX12" fmla="*/ 68523 w 117273"/>
                <a:gd name="connsiteY12" fmla="*/ 17510 h 131913"/>
                <a:gd name="connsiteX13" fmla="*/ 46386 w 117273"/>
                <a:gd name="connsiteY13" fmla="*/ 23507 h 131913"/>
                <a:gd name="connsiteX14" fmla="*/ 33868 w 117273"/>
                <a:gd name="connsiteY14" fmla="*/ 40548 h 131913"/>
                <a:gd name="connsiteX15" fmla="*/ 12145 w 117273"/>
                <a:gd name="connsiteY15" fmla="*/ 38646 h 131913"/>
                <a:gd name="connsiteX16" fmla="*/ 33216 w 117273"/>
                <a:gd name="connsiteY16" fmla="*/ 9905 h 131913"/>
                <a:gd name="connsiteX17" fmla="*/ 69595 w 117273"/>
                <a:gd name="connsiteY17" fmla="*/ -44 h 131913"/>
                <a:gd name="connsiteX18" fmla="*/ 106610 w 117273"/>
                <a:gd name="connsiteY18" fmla="*/ 11121 h 131913"/>
                <a:gd name="connsiteX19" fmla="*/ 117051 w 117273"/>
                <a:gd name="connsiteY19" fmla="*/ 32732 h 131913"/>
                <a:gd name="connsiteX20" fmla="*/ 114084 w 117273"/>
                <a:gd name="connsiteY20" fmla="*/ 56123 h 131913"/>
                <a:gd name="connsiteX21" fmla="*/ 107085 w 117273"/>
                <a:gd name="connsiteY21" fmla="*/ 87474 h 131913"/>
                <a:gd name="connsiteX22" fmla="*/ 103770 w 117273"/>
                <a:gd name="connsiteY22" fmla="*/ 111793 h 131913"/>
                <a:gd name="connsiteX23" fmla="*/ 106383 w 117273"/>
                <a:gd name="connsiteY23" fmla="*/ 128889 h 131913"/>
                <a:gd name="connsiteX24" fmla="*/ 84683 w 117273"/>
                <a:gd name="connsiteY24" fmla="*/ 128889 h 131913"/>
                <a:gd name="connsiteX25" fmla="*/ 82197 w 117273"/>
                <a:gd name="connsiteY25" fmla="*/ 113219 h 131913"/>
                <a:gd name="connsiteX26" fmla="*/ 90146 w 117273"/>
                <a:gd name="connsiteY26" fmla="*/ 65011 h 131913"/>
                <a:gd name="connsiteX27" fmla="*/ 80473 w 117273"/>
                <a:gd name="connsiteY27" fmla="*/ 67742 h 131913"/>
                <a:gd name="connsiteX28" fmla="*/ 63203 w 117273"/>
                <a:gd name="connsiteY28" fmla="*/ 69759 h 131913"/>
                <a:gd name="connsiteX29" fmla="*/ 36735 w 117273"/>
                <a:gd name="connsiteY29" fmla="*/ 73976 h 131913"/>
                <a:gd name="connsiteX30" fmla="*/ 25133 w 117273"/>
                <a:gd name="connsiteY30" fmla="*/ 82107 h 131913"/>
                <a:gd name="connsiteX31" fmla="*/ 21216 w 117273"/>
                <a:gd name="connsiteY31" fmla="*/ 94460 h 131913"/>
                <a:gd name="connsiteX32" fmla="*/ 27448 w 117273"/>
                <a:gd name="connsiteY32" fmla="*/ 109301 h 131913"/>
                <a:gd name="connsiteX33" fmla="*/ 45193 w 117273"/>
                <a:gd name="connsiteY33" fmla="*/ 115121 h 131913"/>
                <a:gd name="connsiteX34" fmla="*/ 81274 w 117273"/>
                <a:gd name="connsiteY34" fmla="*/ 93747 h 131913"/>
                <a:gd name="connsiteX35" fmla="*/ 90141 w 117273"/>
                <a:gd name="connsiteY35" fmla="*/ 65011 h 13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273" h="131913">
                  <a:moveTo>
                    <a:pt x="82197" y="113219"/>
                  </a:moveTo>
                  <a:cubicBezTo>
                    <a:pt x="75788" y="118968"/>
                    <a:pt x="68540" y="123710"/>
                    <a:pt x="60711" y="127292"/>
                  </a:cubicBezTo>
                  <a:cubicBezTo>
                    <a:pt x="53728" y="130282"/>
                    <a:pt x="46209" y="131796"/>
                    <a:pt x="38613" y="131746"/>
                  </a:cubicBezTo>
                  <a:cubicBezTo>
                    <a:pt x="28244" y="132216"/>
                    <a:pt x="18112" y="128519"/>
                    <a:pt x="10482" y="121477"/>
                  </a:cubicBezTo>
                  <a:cubicBezTo>
                    <a:pt x="3355" y="114618"/>
                    <a:pt x="-523" y="105061"/>
                    <a:pt x="-197" y="95173"/>
                  </a:cubicBezTo>
                  <a:cubicBezTo>
                    <a:pt x="-324" y="88618"/>
                    <a:pt x="1339" y="82151"/>
                    <a:pt x="4610" y="76469"/>
                  </a:cubicBezTo>
                  <a:cubicBezTo>
                    <a:pt x="7725" y="71135"/>
                    <a:pt x="12112" y="66647"/>
                    <a:pt x="17371" y="63408"/>
                  </a:cubicBezTo>
                  <a:cubicBezTo>
                    <a:pt x="23366" y="59865"/>
                    <a:pt x="29962" y="57466"/>
                    <a:pt x="36834" y="56339"/>
                  </a:cubicBezTo>
                  <a:cubicBezTo>
                    <a:pt x="45939" y="55012"/>
                    <a:pt x="55115" y="54261"/>
                    <a:pt x="64314" y="54084"/>
                  </a:cubicBezTo>
                  <a:cubicBezTo>
                    <a:pt x="74147" y="54122"/>
                    <a:pt x="83931" y="52680"/>
                    <a:pt x="93334" y="49811"/>
                  </a:cubicBezTo>
                  <a:cubicBezTo>
                    <a:pt x="94809" y="45074"/>
                    <a:pt x="95649" y="40161"/>
                    <a:pt x="95826" y="35203"/>
                  </a:cubicBezTo>
                  <a:cubicBezTo>
                    <a:pt x="96019" y="30632"/>
                    <a:pt x="93980" y="26249"/>
                    <a:pt x="90362" y="23446"/>
                  </a:cubicBezTo>
                  <a:cubicBezTo>
                    <a:pt x="83953" y="19069"/>
                    <a:pt x="76263" y="16980"/>
                    <a:pt x="68523" y="17510"/>
                  </a:cubicBezTo>
                  <a:cubicBezTo>
                    <a:pt x="60701" y="17173"/>
                    <a:pt x="52972" y="19268"/>
                    <a:pt x="46386" y="23507"/>
                  </a:cubicBezTo>
                  <a:cubicBezTo>
                    <a:pt x="40503" y="27702"/>
                    <a:pt x="36111" y="33677"/>
                    <a:pt x="33868" y="40548"/>
                  </a:cubicBezTo>
                  <a:lnTo>
                    <a:pt x="12145" y="38646"/>
                  </a:lnTo>
                  <a:cubicBezTo>
                    <a:pt x="15896" y="27050"/>
                    <a:pt x="23288" y="16969"/>
                    <a:pt x="33216" y="9905"/>
                  </a:cubicBezTo>
                  <a:cubicBezTo>
                    <a:pt x="44027" y="2918"/>
                    <a:pt x="56734" y="-553"/>
                    <a:pt x="69595" y="-44"/>
                  </a:cubicBezTo>
                  <a:cubicBezTo>
                    <a:pt x="82859" y="-763"/>
                    <a:pt x="95953" y="3184"/>
                    <a:pt x="106610" y="11121"/>
                  </a:cubicBezTo>
                  <a:cubicBezTo>
                    <a:pt x="113361" y="16228"/>
                    <a:pt x="117244" y="24270"/>
                    <a:pt x="117051" y="32732"/>
                  </a:cubicBezTo>
                  <a:cubicBezTo>
                    <a:pt x="116913" y="40614"/>
                    <a:pt x="115913" y="48457"/>
                    <a:pt x="114084" y="56123"/>
                  </a:cubicBezTo>
                  <a:lnTo>
                    <a:pt x="107085" y="87474"/>
                  </a:lnTo>
                  <a:cubicBezTo>
                    <a:pt x="105135" y="95444"/>
                    <a:pt x="104019" y="103591"/>
                    <a:pt x="103770" y="111793"/>
                  </a:cubicBezTo>
                  <a:cubicBezTo>
                    <a:pt x="104030" y="117569"/>
                    <a:pt x="104908" y="123301"/>
                    <a:pt x="106383" y="128889"/>
                  </a:cubicBezTo>
                  <a:lnTo>
                    <a:pt x="84683" y="128889"/>
                  </a:lnTo>
                  <a:cubicBezTo>
                    <a:pt x="83329" y="123760"/>
                    <a:pt x="82500" y="118514"/>
                    <a:pt x="82197" y="113219"/>
                  </a:cubicBezTo>
                  <a:close/>
                  <a:moveTo>
                    <a:pt x="90146" y="65011"/>
                  </a:moveTo>
                  <a:cubicBezTo>
                    <a:pt x="87019" y="66233"/>
                    <a:pt x="83777" y="67150"/>
                    <a:pt x="80473" y="67742"/>
                  </a:cubicBezTo>
                  <a:cubicBezTo>
                    <a:pt x="77031" y="68377"/>
                    <a:pt x="71275" y="69052"/>
                    <a:pt x="63203" y="69759"/>
                  </a:cubicBezTo>
                  <a:cubicBezTo>
                    <a:pt x="54259" y="70267"/>
                    <a:pt x="45392" y="71677"/>
                    <a:pt x="36735" y="73976"/>
                  </a:cubicBezTo>
                  <a:cubicBezTo>
                    <a:pt x="32083" y="75347"/>
                    <a:pt x="28012" y="78199"/>
                    <a:pt x="25133" y="82107"/>
                  </a:cubicBezTo>
                  <a:cubicBezTo>
                    <a:pt x="22559" y="85710"/>
                    <a:pt x="21189" y="90033"/>
                    <a:pt x="21216" y="94460"/>
                  </a:cubicBezTo>
                  <a:cubicBezTo>
                    <a:pt x="21045" y="100076"/>
                    <a:pt x="23321" y="105492"/>
                    <a:pt x="27448" y="109301"/>
                  </a:cubicBezTo>
                  <a:cubicBezTo>
                    <a:pt x="32387" y="113462"/>
                    <a:pt x="38751" y="115546"/>
                    <a:pt x="45193" y="115121"/>
                  </a:cubicBezTo>
                  <a:cubicBezTo>
                    <a:pt x="60170" y="114955"/>
                    <a:pt x="73926" y="106808"/>
                    <a:pt x="81274" y="93747"/>
                  </a:cubicBezTo>
                  <a:cubicBezTo>
                    <a:pt x="85799" y="84727"/>
                    <a:pt x="88798" y="75015"/>
                    <a:pt x="90141" y="65011"/>
                  </a:cubicBezTo>
                  <a:close/>
                </a:path>
              </a:pathLst>
            </a:custGeom>
            <a:solidFill>
              <a:srgbClr val="FFFFFF"/>
            </a:solidFill>
            <a:ln w="5506"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5CC35AD3-3245-4C99-8FD9-D496C6AD6F58}"/>
                </a:ext>
              </a:extLst>
            </p:cNvPr>
            <p:cNvSpPr/>
            <p:nvPr/>
          </p:nvSpPr>
          <p:spPr>
            <a:xfrm>
              <a:off x="6405508" y="4300156"/>
              <a:ext cx="64465" cy="174128"/>
            </a:xfrm>
            <a:custGeom>
              <a:avLst/>
              <a:gdLst>
                <a:gd name="connsiteX0" fmla="*/ 44427 w 64465"/>
                <a:gd name="connsiteY0" fmla="*/ 154364 h 174128"/>
                <a:gd name="connsiteX1" fmla="*/ 40864 w 64465"/>
                <a:gd name="connsiteY1" fmla="*/ 171940 h 174128"/>
                <a:gd name="connsiteX2" fmla="*/ 25909 w 64465"/>
                <a:gd name="connsiteY2" fmla="*/ 173957 h 174128"/>
                <a:gd name="connsiteX3" fmla="*/ 5496 w 64465"/>
                <a:gd name="connsiteY3" fmla="*/ 167662 h 174128"/>
                <a:gd name="connsiteX4" fmla="*/ -200 w 64465"/>
                <a:gd name="connsiteY4" fmla="*/ 154723 h 174128"/>
                <a:gd name="connsiteX5" fmla="*/ 2883 w 64465"/>
                <a:gd name="connsiteY5" fmla="*/ 135604 h 174128"/>
                <a:gd name="connsiteX6" fmla="*/ 18197 w 64465"/>
                <a:gd name="connsiteY6" fmla="*/ 62336 h 174128"/>
                <a:gd name="connsiteX7" fmla="*/ 1225 w 64465"/>
                <a:gd name="connsiteY7" fmla="*/ 62336 h 174128"/>
                <a:gd name="connsiteX8" fmla="*/ 4667 w 64465"/>
                <a:gd name="connsiteY8" fmla="*/ 45710 h 174128"/>
                <a:gd name="connsiteX9" fmla="*/ 21638 w 64465"/>
                <a:gd name="connsiteY9" fmla="*/ 45710 h 174128"/>
                <a:gd name="connsiteX10" fmla="*/ 28169 w 64465"/>
                <a:gd name="connsiteY10" fmla="*/ 14719 h 174128"/>
                <a:gd name="connsiteX11" fmla="*/ 52736 w 64465"/>
                <a:gd name="connsiteY11" fmla="*/ -128 h 174128"/>
                <a:gd name="connsiteX12" fmla="*/ 43124 w 64465"/>
                <a:gd name="connsiteY12" fmla="*/ 45710 h 174128"/>
                <a:gd name="connsiteX13" fmla="*/ 64250 w 64465"/>
                <a:gd name="connsiteY13" fmla="*/ 45710 h 174128"/>
                <a:gd name="connsiteX14" fmla="*/ 60686 w 64465"/>
                <a:gd name="connsiteY14" fmla="*/ 62336 h 174128"/>
                <a:gd name="connsiteX15" fmla="*/ 39693 w 64465"/>
                <a:gd name="connsiteY15" fmla="*/ 62336 h 174128"/>
                <a:gd name="connsiteX16" fmla="*/ 25091 w 64465"/>
                <a:gd name="connsiteY16" fmla="*/ 132039 h 174128"/>
                <a:gd name="connsiteX17" fmla="*/ 22362 w 64465"/>
                <a:gd name="connsiteY17" fmla="*/ 147952 h 174128"/>
                <a:gd name="connsiteX18" fmla="*/ 24572 w 64465"/>
                <a:gd name="connsiteY18" fmla="*/ 153772 h 174128"/>
                <a:gd name="connsiteX19" fmla="*/ 31754 w 64465"/>
                <a:gd name="connsiteY19" fmla="*/ 155790 h 174128"/>
                <a:gd name="connsiteX20" fmla="*/ 44427 w 64465"/>
                <a:gd name="connsiteY20" fmla="*/ 154364 h 17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465" h="174128">
                  <a:moveTo>
                    <a:pt x="44427" y="154364"/>
                  </a:moveTo>
                  <a:lnTo>
                    <a:pt x="40864" y="171940"/>
                  </a:lnTo>
                  <a:cubicBezTo>
                    <a:pt x="35986" y="173250"/>
                    <a:pt x="30958" y="173930"/>
                    <a:pt x="25909" y="173957"/>
                  </a:cubicBezTo>
                  <a:cubicBezTo>
                    <a:pt x="18572" y="174344"/>
                    <a:pt x="11341" y="172111"/>
                    <a:pt x="5496" y="167662"/>
                  </a:cubicBezTo>
                  <a:cubicBezTo>
                    <a:pt x="1684" y="164473"/>
                    <a:pt x="-421" y="159686"/>
                    <a:pt x="-200" y="154723"/>
                  </a:cubicBezTo>
                  <a:cubicBezTo>
                    <a:pt x="347" y="148283"/>
                    <a:pt x="1380" y="141889"/>
                    <a:pt x="2883" y="135604"/>
                  </a:cubicBezTo>
                  <a:lnTo>
                    <a:pt x="18197" y="62336"/>
                  </a:lnTo>
                  <a:lnTo>
                    <a:pt x="1225" y="62336"/>
                  </a:lnTo>
                  <a:lnTo>
                    <a:pt x="4667" y="45710"/>
                  </a:lnTo>
                  <a:lnTo>
                    <a:pt x="21638" y="45710"/>
                  </a:lnTo>
                  <a:lnTo>
                    <a:pt x="28169" y="14719"/>
                  </a:lnTo>
                  <a:lnTo>
                    <a:pt x="52736" y="-128"/>
                  </a:lnTo>
                  <a:lnTo>
                    <a:pt x="43124" y="45710"/>
                  </a:lnTo>
                  <a:lnTo>
                    <a:pt x="64250" y="45710"/>
                  </a:lnTo>
                  <a:lnTo>
                    <a:pt x="60686" y="62336"/>
                  </a:lnTo>
                  <a:lnTo>
                    <a:pt x="39693" y="62336"/>
                  </a:lnTo>
                  <a:lnTo>
                    <a:pt x="25091" y="132039"/>
                  </a:lnTo>
                  <a:cubicBezTo>
                    <a:pt x="23854" y="137284"/>
                    <a:pt x="22942" y="142596"/>
                    <a:pt x="22362" y="147952"/>
                  </a:cubicBezTo>
                  <a:cubicBezTo>
                    <a:pt x="22224" y="150119"/>
                    <a:pt x="23031" y="152241"/>
                    <a:pt x="24572" y="153772"/>
                  </a:cubicBezTo>
                  <a:cubicBezTo>
                    <a:pt x="26638" y="155309"/>
                    <a:pt x="29196" y="156027"/>
                    <a:pt x="31754" y="155790"/>
                  </a:cubicBezTo>
                  <a:cubicBezTo>
                    <a:pt x="36019" y="155839"/>
                    <a:pt x="40278" y="155364"/>
                    <a:pt x="44427" y="154364"/>
                  </a:cubicBezTo>
                  <a:close/>
                </a:path>
              </a:pathLst>
            </a:custGeom>
            <a:solidFill>
              <a:srgbClr val="FFFFFF"/>
            </a:solidFill>
            <a:ln w="5506"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C77D250-E616-4B9A-9BC1-EE41D4B35E0D}"/>
                </a:ext>
              </a:extLst>
            </p:cNvPr>
            <p:cNvSpPr/>
            <p:nvPr/>
          </p:nvSpPr>
          <p:spPr>
            <a:xfrm>
              <a:off x="6532468" y="4343043"/>
              <a:ext cx="189574" cy="129080"/>
            </a:xfrm>
            <a:custGeom>
              <a:avLst/>
              <a:gdLst>
                <a:gd name="connsiteX0" fmla="*/ -216 w 189574"/>
                <a:gd name="connsiteY0" fmla="*/ 128931 h 129080"/>
                <a:gd name="connsiteX1" fmla="*/ 26136 w 189574"/>
                <a:gd name="connsiteY1" fmla="*/ 2822 h 129080"/>
                <a:gd name="connsiteX2" fmla="*/ 47621 w 189574"/>
                <a:gd name="connsiteY2" fmla="*/ 2822 h 129080"/>
                <a:gd name="connsiteX3" fmla="*/ 43202 w 189574"/>
                <a:gd name="connsiteY3" fmla="*/ 23604 h 129080"/>
                <a:gd name="connsiteX4" fmla="*/ 64626 w 189574"/>
                <a:gd name="connsiteY4" fmla="*/ 5077 h 129080"/>
                <a:gd name="connsiteX5" fmla="*/ 85100 w 189574"/>
                <a:gd name="connsiteY5" fmla="*/ -30 h 129080"/>
                <a:gd name="connsiteX6" fmla="*/ 104740 w 189574"/>
                <a:gd name="connsiteY6" fmla="*/ 6205 h 129080"/>
                <a:gd name="connsiteX7" fmla="*/ 115126 w 189574"/>
                <a:gd name="connsiteY7" fmla="*/ 23604 h 129080"/>
                <a:gd name="connsiteX8" fmla="*/ 135363 w 189574"/>
                <a:gd name="connsiteY8" fmla="*/ 5851 h 129080"/>
                <a:gd name="connsiteX9" fmla="*/ 157737 w 189574"/>
                <a:gd name="connsiteY9" fmla="*/ -30 h 129080"/>
                <a:gd name="connsiteX10" fmla="*/ 181415 w 189574"/>
                <a:gd name="connsiteY10" fmla="*/ 7454 h 129080"/>
                <a:gd name="connsiteX11" fmla="*/ 189310 w 189574"/>
                <a:gd name="connsiteY11" fmla="*/ 28457 h 129080"/>
                <a:gd name="connsiteX12" fmla="*/ 186581 w 189574"/>
                <a:gd name="connsiteY12" fmla="*/ 47692 h 129080"/>
                <a:gd name="connsiteX13" fmla="*/ 169609 w 189574"/>
                <a:gd name="connsiteY13" fmla="*/ 128942 h 129080"/>
                <a:gd name="connsiteX14" fmla="*/ 148124 w 189574"/>
                <a:gd name="connsiteY14" fmla="*/ 128942 h 129080"/>
                <a:gd name="connsiteX15" fmla="*/ 165455 w 189574"/>
                <a:gd name="connsiteY15" fmla="*/ 45581 h 129080"/>
                <a:gd name="connsiteX16" fmla="*/ 167709 w 189574"/>
                <a:gd name="connsiteY16" fmla="*/ 30978 h 129080"/>
                <a:gd name="connsiteX17" fmla="*/ 163792 w 189574"/>
                <a:gd name="connsiteY17" fmla="*/ 21239 h 129080"/>
                <a:gd name="connsiteX18" fmla="*/ 152743 w 189574"/>
                <a:gd name="connsiteY18" fmla="*/ 17674 h 129080"/>
                <a:gd name="connsiteX19" fmla="*/ 133175 w 189574"/>
                <a:gd name="connsiteY19" fmla="*/ 23483 h 129080"/>
                <a:gd name="connsiteX20" fmla="*/ 117706 w 189574"/>
                <a:gd name="connsiteY20" fmla="*/ 38743 h 129080"/>
                <a:gd name="connsiteX21" fmla="*/ 108032 w 189574"/>
                <a:gd name="connsiteY21" fmla="*/ 67778 h 129080"/>
                <a:gd name="connsiteX22" fmla="*/ 95216 w 189574"/>
                <a:gd name="connsiteY22" fmla="*/ 128931 h 129080"/>
                <a:gd name="connsiteX23" fmla="*/ 73730 w 189574"/>
                <a:gd name="connsiteY23" fmla="*/ 128931 h 129080"/>
                <a:gd name="connsiteX24" fmla="*/ 91536 w 189574"/>
                <a:gd name="connsiteY24" fmla="*/ 43812 h 129080"/>
                <a:gd name="connsiteX25" fmla="*/ 93437 w 189574"/>
                <a:gd name="connsiteY25" fmla="*/ 31464 h 129080"/>
                <a:gd name="connsiteX26" fmla="*/ 89569 w 189574"/>
                <a:gd name="connsiteY26" fmla="*/ 21487 h 129080"/>
                <a:gd name="connsiteX27" fmla="*/ 79542 w 189574"/>
                <a:gd name="connsiteY27" fmla="*/ 17684 h 129080"/>
                <a:gd name="connsiteX28" fmla="*/ 60372 w 189574"/>
                <a:gd name="connsiteY28" fmla="*/ 23505 h 129080"/>
                <a:gd name="connsiteX29" fmla="*/ 44053 w 189574"/>
                <a:gd name="connsiteY29" fmla="*/ 39716 h 129080"/>
                <a:gd name="connsiteX30" fmla="*/ 33727 w 189574"/>
                <a:gd name="connsiteY30" fmla="*/ 69342 h 129080"/>
                <a:gd name="connsiteX31" fmla="*/ 21264 w 189574"/>
                <a:gd name="connsiteY31" fmla="*/ 128953 h 12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9574" h="129080">
                  <a:moveTo>
                    <a:pt x="-216" y="128931"/>
                  </a:moveTo>
                  <a:lnTo>
                    <a:pt x="26136" y="2822"/>
                  </a:lnTo>
                  <a:lnTo>
                    <a:pt x="47621" y="2822"/>
                  </a:lnTo>
                  <a:lnTo>
                    <a:pt x="43202" y="23604"/>
                  </a:lnTo>
                  <a:cubicBezTo>
                    <a:pt x="49268" y="16286"/>
                    <a:pt x="56510" y="10024"/>
                    <a:pt x="64626" y="5077"/>
                  </a:cubicBezTo>
                  <a:cubicBezTo>
                    <a:pt x="70913" y="1678"/>
                    <a:pt x="77957" y="-80"/>
                    <a:pt x="85100" y="-30"/>
                  </a:cubicBezTo>
                  <a:cubicBezTo>
                    <a:pt x="92171" y="-279"/>
                    <a:pt x="99105" y="1927"/>
                    <a:pt x="104740" y="6205"/>
                  </a:cubicBezTo>
                  <a:cubicBezTo>
                    <a:pt x="110143" y="10599"/>
                    <a:pt x="113822" y="16761"/>
                    <a:pt x="115126" y="23604"/>
                  </a:cubicBezTo>
                  <a:cubicBezTo>
                    <a:pt x="120667" y="16441"/>
                    <a:pt x="127540" y="10411"/>
                    <a:pt x="135363" y="5851"/>
                  </a:cubicBezTo>
                  <a:cubicBezTo>
                    <a:pt x="142191" y="1999"/>
                    <a:pt x="149898" y="-30"/>
                    <a:pt x="157737" y="-30"/>
                  </a:cubicBezTo>
                  <a:cubicBezTo>
                    <a:pt x="166300" y="-688"/>
                    <a:pt x="174786" y="1999"/>
                    <a:pt x="181415" y="7454"/>
                  </a:cubicBezTo>
                  <a:cubicBezTo>
                    <a:pt x="186907" y="13020"/>
                    <a:pt x="189774" y="20653"/>
                    <a:pt x="189310" y="28457"/>
                  </a:cubicBezTo>
                  <a:cubicBezTo>
                    <a:pt x="188962" y="34935"/>
                    <a:pt x="188050" y="41374"/>
                    <a:pt x="186581" y="47692"/>
                  </a:cubicBezTo>
                  <a:lnTo>
                    <a:pt x="169609" y="128942"/>
                  </a:lnTo>
                  <a:lnTo>
                    <a:pt x="148124" y="128942"/>
                  </a:lnTo>
                  <a:lnTo>
                    <a:pt x="165455" y="45581"/>
                  </a:lnTo>
                  <a:cubicBezTo>
                    <a:pt x="166665" y="40794"/>
                    <a:pt x="167416" y="35908"/>
                    <a:pt x="167709" y="30978"/>
                  </a:cubicBezTo>
                  <a:cubicBezTo>
                    <a:pt x="167891" y="27313"/>
                    <a:pt x="166460" y="23753"/>
                    <a:pt x="163792" y="21239"/>
                  </a:cubicBezTo>
                  <a:cubicBezTo>
                    <a:pt x="160693" y="18690"/>
                    <a:pt x="156743" y="17419"/>
                    <a:pt x="152743" y="17674"/>
                  </a:cubicBezTo>
                  <a:cubicBezTo>
                    <a:pt x="145821" y="17828"/>
                    <a:pt x="139064" y="19835"/>
                    <a:pt x="133175" y="23483"/>
                  </a:cubicBezTo>
                  <a:cubicBezTo>
                    <a:pt x="126772" y="27131"/>
                    <a:pt x="121440" y="32392"/>
                    <a:pt x="117706" y="38743"/>
                  </a:cubicBezTo>
                  <a:cubicBezTo>
                    <a:pt x="113043" y="47880"/>
                    <a:pt x="109784" y="57668"/>
                    <a:pt x="108032" y="67778"/>
                  </a:cubicBezTo>
                  <a:lnTo>
                    <a:pt x="95216" y="128931"/>
                  </a:lnTo>
                  <a:lnTo>
                    <a:pt x="73730" y="128931"/>
                  </a:lnTo>
                  <a:lnTo>
                    <a:pt x="91536" y="43812"/>
                  </a:lnTo>
                  <a:cubicBezTo>
                    <a:pt x="92552" y="39766"/>
                    <a:pt x="93188" y="35631"/>
                    <a:pt x="93437" y="31464"/>
                  </a:cubicBezTo>
                  <a:cubicBezTo>
                    <a:pt x="93586" y="27744"/>
                    <a:pt x="92188" y="24129"/>
                    <a:pt x="89569" y="21487"/>
                  </a:cubicBezTo>
                  <a:cubicBezTo>
                    <a:pt x="86884" y="18906"/>
                    <a:pt x="83260" y="17535"/>
                    <a:pt x="79542" y="17684"/>
                  </a:cubicBezTo>
                  <a:cubicBezTo>
                    <a:pt x="72747" y="17889"/>
                    <a:pt x="66134" y="19901"/>
                    <a:pt x="60372" y="23505"/>
                  </a:cubicBezTo>
                  <a:cubicBezTo>
                    <a:pt x="53638" y="27429"/>
                    <a:pt x="48025" y="33011"/>
                    <a:pt x="44053" y="39716"/>
                  </a:cubicBezTo>
                  <a:cubicBezTo>
                    <a:pt x="39020" y="48963"/>
                    <a:pt x="35534" y="58967"/>
                    <a:pt x="33727" y="69342"/>
                  </a:cubicBezTo>
                  <a:lnTo>
                    <a:pt x="21264" y="128953"/>
                  </a:lnTo>
                  <a:close/>
                </a:path>
              </a:pathLst>
            </a:custGeom>
            <a:solidFill>
              <a:srgbClr val="FFFFFF"/>
            </a:solidFill>
            <a:ln w="5506"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9AC6C981-3E47-4B59-BF0C-F4BEE67B14C5}"/>
                </a:ext>
              </a:extLst>
            </p:cNvPr>
            <p:cNvSpPr/>
            <p:nvPr/>
          </p:nvSpPr>
          <p:spPr>
            <a:xfrm>
              <a:off x="6736427" y="4343078"/>
              <a:ext cx="117279" cy="131914"/>
            </a:xfrm>
            <a:custGeom>
              <a:avLst/>
              <a:gdLst>
                <a:gd name="connsiteX0" fmla="*/ 82197 w 117279"/>
                <a:gd name="connsiteY0" fmla="*/ 113220 h 131914"/>
                <a:gd name="connsiteX1" fmla="*/ 60717 w 117279"/>
                <a:gd name="connsiteY1" fmla="*/ 127293 h 131914"/>
                <a:gd name="connsiteX2" fmla="*/ 38619 w 117279"/>
                <a:gd name="connsiteY2" fmla="*/ 131747 h 131914"/>
                <a:gd name="connsiteX3" fmla="*/ 10488 w 117279"/>
                <a:gd name="connsiteY3" fmla="*/ 121478 h 131914"/>
                <a:gd name="connsiteX4" fmla="*/ -197 w 117279"/>
                <a:gd name="connsiteY4" fmla="*/ 95174 h 131914"/>
                <a:gd name="connsiteX5" fmla="*/ 4609 w 117279"/>
                <a:gd name="connsiteY5" fmla="*/ 76470 h 131914"/>
                <a:gd name="connsiteX6" fmla="*/ 17371 w 117279"/>
                <a:gd name="connsiteY6" fmla="*/ 63409 h 131914"/>
                <a:gd name="connsiteX7" fmla="*/ 36834 w 117279"/>
                <a:gd name="connsiteY7" fmla="*/ 56340 h 131914"/>
                <a:gd name="connsiteX8" fmla="*/ 64314 w 117279"/>
                <a:gd name="connsiteY8" fmla="*/ 54085 h 131914"/>
                <a:gd name="connsiteX9" fmla="*/ 93334 w 117279"/>
                <a:gd name="connsiteY9" fmla="*/ 49812 h 131914"/>
                <a:gd name="connsiteX10" fmla="*/ 95826 w 117279"/>
                <a:gd name="connsiteY10" fmla="*/ 35204 h 131914"/>
                <a:gd name="connsiteX11" fmla="*/ 90367 w 117279"/>
                <a:gd name="connsiteY11" fmla="*/ 23447 h 131914"/>
                <a:gd name="connsiteX12" fmla="*/ 68529 w 117279"/>
                <a:gd name="connsiteY12" fmla="*/ 17511 h 131914"/>
                <a:gd name="connsiteX13" fmla="*/ 46392 w 117279"/>
                <a:gd name="connsiteY13" fmla="*/ 23509 h 131914"/>
                <a:gd name="connsiteX14" fmla="*/ 33868 w 117279"/>
                <a:gd name="connsiteY14" fmla="*/ 40549 h 131914"/>
                <a:gd name="connsiteX15" fmla="*/ 12151 w 117279"/>
                <a:gd name="connsiteY15" fmla="*/ 38647 h 131914"/>
                <a:gd name="connsiteX16" fmla="*/ 33216 w 117279"/>
                <a:gd name="connsiteY16" fmla="*/ 9906 h 131914"/>
                <a:gd name="connsiteX17" fmla="*/ 69595 w 117279"/>
                <a:gd name="connsiteY17" fmla="*/ -43 h 131914"/>
                <a:gd name="connsiteX18" fmla="*/ 106610 w 117279"/>
                <a:gd name="connsiteY18" fmla="*/ 11122 h 131914"/>
                <a:gd name="connsiteX19" fmla="*/ 117057 w 117279"/>
                <a:gd name="connsiteY19" fmla="*/ 32733 h 131914"/>
                <a:gd name="connsiteX20" fmla="*/ 114090 w 117279"/>
                <a:gd name="connsiteY20" fmla="*/ 56124 h 131914"/>
                <a:gd name="connsiteX21" fmla="*/ 107107 w 117279"/>
                <a:gd name="connsiteY21" fmla="*/ 87453 h 131914"/>
                <a:gd name="connsiteX22" fmla="*/ 103792 w 117279"/>
                <a:gd name="connsiteY22" fmla="*/ 111772 h 131914"/>
                <a:gd name="connsiteX23" fmla="*/ 106400 w 117279"/>
                <a:gd name="connsiteY23" fmla="*/ 128868 h 131914"/>
                <a:gd name="connsiteX24" fmla="*/ 84683 w 117279"/>
                <a:gd name="connsiteY24" fmla="*/ 128868 h 131914"/>
                <a:gd name="connsiteX25" fmla="*/ 82197 w 117279"/>
                <a:gd name="connsiteY25" fmla="*/ 113220 h 131914"/>
                <a:gd name="connsiteX26" fmla="*/ 90152 w 117279"/>
                <a:gd name="connsiteY26" fmla="*/ 65012 h 131914"/>
                <a:gd name="connsiteX27" fmla="*/ 80479 w 117279"/>
                <a:gd name="connsiteY27" fmla="*/ 67743 h 131914"/>
                <a:gd name="connsiteX28" fmla="*/ 63209 w 117279"/>
                <a:gd name="connsiteY28" fmla="*/ 69760 h 131914"/>
                <a:gd name="connsiteX29" fmla="*/ 36741 w 117279"/>
                <a:gd name="connsiteY29" fmla="*/ 73977 h 131914"/>
                <a:gd name="connsiteX30" fmla="*/ 25106 w 117279"/>
                <a:gd name="connsiteY30" fmla="*/ 82108 h 131914"/>
                <a:gd name="connsiteX31" fmla="*/ 21189 w 117279"/>
                <a:gd name="connsiteY31" fmla="*/ 94461 h 131914"/>
                <a:gd name="connsiteX32" fmla="*/ 27421 w 117279"/>
                <a:gd name="connsiteY32" fmla="*/ 109302 h 131914"/>
                <a:gd name="connsiteX33" fmla="*/ 45165 w 117279"/>
                <a:gd name="connsiteY33" fmla="*/ 115122 h 131914"/>
                <a:gd name="connsiteX34" fmla="*/ 81246 w 117279"/>
                <a:gd name="connsiteY34" fmla="*/ 93748 h 131914"/>
                <a:gd name="connsiteX35" fmla="*/ 90152 w 117279"/>
                <a:gd name="connsiteY35" fmla="*/ 65012 h 13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279" h="131914">
                  <a:moveTo>
                    <a:pt x="82197" y="113220"/>
                  </a:moveTo>
                  <a:cubicBezTo>
                    <a:pt x="75788" y="118969"/>
                    <a:pt x="68545" y="123716"/>
                    <a:pt x="60717" y="127293"/>
                  </a:cubicBezTo>
                  <a:cubicBezTo>
                    <a:pt x="53734" y="130283"/>
                    <a:pt x="46215" y="131797"/>
                    <a:pt x="38619" y="131747"/>
                  </a:cubicBezTo>
                  <a:cubicBezTo>
                    <a:pt x="28249" y="132217"/>
                    <a:pt x="18117" y="128520"/>
                    <a:pt x="10488" y="121478"/>
                  </a:cubicBezTo>
                  <a:cubicBezTo>
                    <a:pt x="3361" y="114624"/>
                    <a:pt x="-523" y="105062"/>
                    <a:pt x="-197" y="95174"/>
                  </a:cubicBezTo>
                  <a:cubicBezTo>
                    <a:pt x="-324" y="88619"/>
                    <a:pt x="1339" y="82152"/>
                    <a:pt x="4609" y="76470"/>
                  </a:cubicBezTo>
                  <a:cubicBezTo>
                    <a:pt x="7725" y="71136"/>
                    <a:pt x="12112" y="66648"/>
                    <a:pt x="17371" y="63409"/>
                  </a:cubicBezTo>
                  <a:cubicBezTo>
                    <a:pt x="23365" y="59866"/>
                    <a:pt x="29967" y="57473"/>
                    <a:pt x="36834" y="56340"/>
                  </a:cubicBezTo>
                  <a:cubicBezTo>
                    <a:pt x="45939" y="55013"/>
                    <a:pt x="55115" y="54262"/>
                    <a:pt x="64314" y="54085"/>
                  </a:cubicBezTo>
                  <a:cubicBezTo>
                    <a:pt x="74147" y="54123"/>
                    <a:pt x="83931" y="52681"/>
                    <a:pt x="93334" y="49812"/>
                  </a:cubicBezTo>
                  <a:cubicBezTo>
                    <a:pt x="94815" y="45076"/>
                    <a:pt x="95649" y="40162"/>
                    <a:pt x="95826" y="35204"/>
                  </a:cubicBezTo>
                  <a:cubicBezTo>
                    <a:pt x="96019" y="30633"/>
                    <a:pt x="93980" y="26250"/>
                    <a:pt x="90367" y="23447"/>
                  </a:cubicBezTo>
                  <a:cubicBezTo>
                    <a:pt x="83959" y="19076"/>
                    <a:pt x="76269" y="16981"/>
                    <a:pt x="68529" y="17511"/>
                  </a:cubicBezTo>
                  <a:cubicBezTo>
                    <a:pt x="60706" y="17174"/>
                    <a:pt x="52977" y="19269"/>
                    <a:pt x="46392" y="23509"/>
                  </a:cubicBezTo>
                  <a:cubicBezTo>
                    <a:pt x="40508" y="27709"/>
                    <a:pt x="36116" y="33678"/>
                    <a:pt x="33868" y="40549"/>
                  </a:cubicBezTo>
                  <a:lnTo>
                    <a:pt x="12151" y="38647"/>
                  </a:lnTo>
                  <a:cubicBezTo>
                    <a:pt x="15902" y="27051"/>
                    <a:pt x="23288" y="16970"/>
                    <a:pt x="33216" y="9906"/>
                  </a:cubicBezTo>
                  <a:cubicBezTo>
                    <a:pt x="44027" y="2919"/>
                    <a:pt x="56734" y="-552"/>
                    <a:pt x="69595" y="-43"/>
                  </a:cubicBezTo>
                  <a:cubicBezTo>
                    <a:pt x="82859" y="-767"/>
                    <a:pt x="95953" y="3185"/>
                    <a:pt x="106610" y="11122"/>
                  </a:cubicBezTo>
                  <a:cubicBezTo>
                    <a:pt x="113361" y="16229"/>
                    <a:pt x="117250" y="24266"/>
                    <a:pt x="117057" y="32733"/>
                  </a:cubicBezTo>
                  <a:cubicBezTo>
                    <a:pt x="116913" y="40615"/>
                    <a:pt x="115919" y="48458"/>
                    <a:pt x="114090" y="56124"/>
                  </a:cubicBezTo>
                  <a:lnTo>
                    <a:pt x="107107" y="87453"/>
                  </a:lnTo>
                  <a:cubicBezTo>
                    <a:pt x="105157" y="95423"/>
                    <a:pt x="104046" y="103570"/>
                    <a:pt x="103792" y="111772"/>
                  </a:cubicBezTo>
                  <a:cubicBezTo>
                    <a:pt x="104052" y="117548"/>
                    <a:pt x="104925" y="123280"/>
                    <a:pt x="106400" y="128868"/>
                  </a:cubicBezTo>
                  <a:lnTo>
                    <a:pt x="84683" y="128868"/>
                  </a:lnTo>
                  <a:cubicBezTo>
                    <a:pt x="83335" y="123750"/>
                    <a:pt x="82500" y="118504"/>
                    <a:pt x="82197" y="113220"/>
                  </a:cubicBezTo>
                  <a:close/>
                  <a:moveTo>
                    <a:pt x="90152" y="65012"/>
                  </a:moveTo>
                  <a:cubicBezTo>
                    <a:pt x="87025" y="66234"/>
                    <a:pt x="83782" y="67151"/>
                    <a:pt x="80479" y="67743"/>
                  </a:cubicBezTo>
                  <a:cubicBezTo>
                    <a:pt x="77037" y="68378"/>
                    <a:pt x="71280" y="69053"/>
                    <a:pt x="63209" y="69760"/>
                  </a:cubicBezTo>
                  <a:cubicBezTo>
                    <a:pt x="54264" y="70263"/>
                    <a:pt x="45398" y="71678"/>
                    <a:pt x="36741" y="73977"/>
                  </a:cubicBezTo>
                  <a:cubicBezTo>
                    <a:pt x="32078" y="75343"/>
                    <a:pt x="27990" y="78195"/>
                    <a:pt x="25106" y="82108"/>
                  </a:cubicBezTo>
                  <a:cubicBezTo>
                    <a:pt x="22537" y="85711"/>
                    <a:pt x="21161" y="90034"/>
                    <a:pt x="21189" y="94461"/>
                  </a:cubicBezTo>
                  <a:cubicBezTo>
                    <a:pt x="21018" y="100077"/>
                    <a:pt x="23294" y="105493"/>
                    <a:pt x="27421" y="109302"/>
                  </a:cubicBezTo>
                  <a:cubicBezTo>
                    <a:pt x="32365" y="113458"/>
                    <a:pt x="38724" y="115547"/>
                    <a:pt x="45165" y="115122"/>
                  </a:cubicBezTo>
                  <a:cubicBezTo>
                    <a:pt x="60142" y="114956"/>
                    <a:pt x="73899" y="106809"/>
                    <a:pt x="81246" y="93748"/>
                  </a:cubicBezTo>
                  <a:cubicBezTo>
                    <a:pt x="85782" y="84728"/>
                    <a:pt x="88793" y="75016"/>
                    <a:pt x="90152" y="65012"/>
                  </a:cubicBezTo>
                  <a:close/>
                </a:path>
              </a:pathLst>
            </a:custGeom>
            <a:solidFill>
              <a:srgbClr val="FFFFFF"/>
            </a:solidFill>
            <a:ln w="5506"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33E3A2B-80CB-425D-AFA1-1252049BC558}"/>
                </a:ext>
              </a:extLst>
            </p:cNvPr>
            <p:cNvSpPr/>
            <p:nvPr/>
          </p:nvSpPr>
          <p:spPr>
            <a:xfrm>
              <a:off x="6873351" y="4300156"/>
              <a:ext cx="64515" cy="174129"/>
            </a:xfrm>
            <a:custGeom>
              <a:avLst/>
              <a:gdLst>
                <a:gd name="connsiteX0" fmla="*/ 44472 w 64515"/>
                <a:gd name="connsiteY0" fmla="*/ 154364 h 174129"/>
                <a:gd name="connsiteX1" fmla="*/ 40897 w 64515"/>
                <a:gd name="connsiteY1" fmla="*/ 171940 h 174129"/>
                <a:gd name="connsiteX2" fmla="*/ 25942 w 64515"/>
                <a:gd name="connsiteY2" fmla="*/ 173957 h 174129"/>
                <a:gd name="connsiteX3" fmla="*/ 5502 w 64515"/>
                <a:gd name="connsiteY3" fmla="*/ 167662 h 174129"/>
                <a:gd name="connsiteX4" fmla="*/ -200 w 64515"/>
                <a:gd name="connsiteY4" fmla="*/ 154723 h 174129"/>
                <a:gd name="connsiteX5" fmla="*/ 2888 w 64515"/>
                <a:gd name="connsiteY5" fmla="*/ 135604 h 174129"/>
                <a:gd name="connsiteX6" fmla="*/ 18247 w 64515"/>
                <a:gd name="connsiteY6" fmla="*/ 62336 h 174129"/>
                <a:gd name="connsiteX7" fmla="*/ 1275 w 64515"/>
                <a:gd name="connsiteY7" fmla="*/ 62336 h 174129"/>
                <a:gd name="connsiteX8" fmla="*/ 4717 w 64515"/>
                <a:gd name="connsiteY8" fmla="*/ 45710 h 174129"/>
                <a:gd name="connsiteX9" fmla="*/ 21688 w 64515"/>
                <a:gd name="connsiteY9" fmla="*/ 45710 h 174129"/>
                <a:gd name="connsiteX10" fmla="*/ 28219 w 64515"/>
                <a:gd name="connsiteY10" fmla="*/ 14719 h 174129"/>
                <a:gd name="connsiteX11" fmla="*/ 52786 w 64515"/>
                <a:gd name="connsiteY11" fmla="*/ -128 h 174129"/>
                <a:gd name="connsiteX12" fmla="*/ 43173 w 64515"/>
                <a:gd name="connsiteY12" fmla="*/ 45710 h 174129"/>
                <a:gd name="connsiteX13" fmla="*/ 64300 w 64515"/>
                <a:gd name="connsiteY13" fmla="*/ 45710 h 174129"/>
                <a:gd name="connsiteX14" fmla="*/ 60741 w 64515"/>
                <a:gd name="connsiteY14" fmla="*/ 62336 h 174129"/>
                <a:gd name="connsiteX15" fmla="*/ 39748 w 64515"/>
                <a:gd name="connsiteY15" fmla="*/ 62336 h 174129"/>
                <a:gd name="connsiteX16" fmla="*/ 25147 w 64515"/>
                <a:gd name="connsiteY16" fmla="*/ 132039 h 174129"/>
                <a:gd name="connsiteX17" fmla="*/ 22418 w 64515"/>
                <a:gd name="connsiteY17" fmla="*/ 147952 h 174129"/>
                <a:gd name="connsiteX18" fmla="*/ 24627 w 64515"/>
                <a:gd name="connsiteY18" fmla="*/ 153772 h 174129"/>
                <a:gd name="connsiteX19" fmla="*/ 31809 w 64515"/>
                <a:gd name="connsiteY19" fmla="*/ 155790 h 174129"/>
                <a:gd name="connsiteX20" fmla="*/ 44472 w 64515"/>
                <a:gd name="connsiteY20" fmla="*/ 154364 h 1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515" h="174129">
                  <a:moveTo>
                    <a:pt x="44472" y="154364"/>
                  </a:moveTo>
                  <a:lnTo>
                    <a:pt x="40897" y="171940"/>
                  </a:lnTo>
                  <a:cubicBezTo>
                    <a:pt x="36019" y="173250"/>
                    <a:pt x="30992" y="173924"/>
                    <a:pt x="25942" y="173957"/>
                  </a:cubicBezTo>
                  <a:cubicBezTo>
                    <a:pt x="18600" y="174350"/>
                    <a:pt x="11352" y="172122"/>
                    <a:pt x="5502" y="167662"/>
                  </a:cubicBezTo>
                  <a:cubicBezTo>
                    <a:pt x="1690" y="164473"/>
                    <a:pt x="-421" y="159692"/>
                    <a:pt x="-200" y="154723"/>
                  </a:cubicBezTo>
                  <a:cubicBezTo>
                    <a:pt x="353" y="148283"/>
                    <a:pt x="1386" y="141889"/>
                    <a:pt x="2888" y="135604"/>
                  </a:cubicBezTo>
                  <a:lnTo>
                    <a:pt x="18247" y="62336"/>
                  </a:lnTo>
                  <a:lnTo>
                    <a:pt x="1275" y="62336"/>
                  </a:lnTo>
                  <a:lnTo>
                    <a:pt x="4717" y="45710"/>
                  </a:lnTo>
                  <a:lnTo>
                    <a:pt x="21688" y="45710"/>
                  </a:lnTo>
                  <a:lnTo>
                    <a:pt x="28219" y="14719"/>
                  </a:lnTo>
                  <a:lnTo>
                    <a:pt x="52786" y="-128"/>
                  </a:lnTo>
                  <a:lnTo>
                    <a:pt x="43173" y="45710"/>
                  </a:lnTo>
                  <a:lnTo>
                    <a:pt x="64300" y="45710"/>
                  </a:lnTo>
                  <a:lnTo>
                    <a:pt x="60741" y="62336"/>
                  </a:lnTo>
                  <a:lnTo>
                    <a:pt x="39748" y="62336"/>
                  </a:lnTo>
                  <a:lnTo>
                    <a:pt x="25147" y="132039"/>
                  </a:lnTo>
                  <a:cubicBezTo>
                    <a:pt x="23909" y="137284"/>
                    <a:pt x="22998" y="142596"/>
                    <a:pt x="22418" y="147952"/>
                  </a:cubicBezTo>
                  <a:cubicBezTo>
                    <a:pt x="22274" y="150119"/>
                    <a:pt x="23081" y="152246"/>
                    <a:pt x="24627" y="153772"/>
                  </a:cubicBezTo>
                  <a:cubicBezTo>
                    <a:pt x="26694" y="155309"/>
                    <a:pt x="29246" y="156027"/>
                    <a:pt x="31809" y="155790"/>
                  </a:cubicBezTo>
                  <a:cubicBezTo>
                    <a:pt x="36074" y="155839"/>
                    <a:pt x="40328" y="155364"/>
                    <a:pt x="44472" y="154364"/>
                  </a:cubicBezTo>
                  <a:close/>
                </a:path>
              </a:pathLst>
            </a:custGeom>
            <a:solidFill>
              <a:srgbClr val="FFFFFF"/>
            </a:solidFill>
            <a:ln w="5506"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492E2DFE-DFC8-46DF-852F-9C5904B7AFC0}"/>
                </a:ext>
              </a:extLst>
            </p:cNvPr>
            <p:cNvSpPr/>
            <p:nvPr/>
          </p:nvSpPr>
          <p:spPr>
            <a:xfrm>
              <a:off x="6939695" y="4300156"/>
              <a:ext cx="64465" cy="174129"/>
            </a:xfrm>
            <a:custGeom>
              <a:avLst/>
              <a:gdLst>
                <a:gd name="connsiteX0" fmla="*/ 44449 w 64465"/>
                <a:gd name="connsiteY0" fmla="*/ 154364 h 174129"/>
                <a:gd name="connsiteX1" fmla="*/ 40892 w 64465"/>
                <a:gd name="connsiteY1" fmla="*/ 171940 h 174129"/>
                <a:gd name="connsiteX2" fmla="*/ 25937 w 64465"/>
                <a:gd name="connsiteY2" fmla="*/ 173957 h 174129"/>
                <a:gd name="connsiteX3" fmla="*/ 5496 w 64465"/>
                <a:gd name="connsiteY3" fmla="*/ 167662 h 174129"/>
                <a:gd name="connsiteX4" fmla="*/ -200 w 64465"/>
                <a:gd name="connsiteY4" fmla="*/ 154723 h 174129"/>
                <a:gd name="connsiteX5" fmla="*/ 2888 w 64465"/>
                <a:gd name="connsiteY5" fmla="*/ 135604 h 174129"/>
                <a:gd name="connsiteX6" fmla="*/ 18197 w 64465"/>
                <a:gd name="connsiteY6" fmla="*/ 62336 h 174129"/>
                <a:gd name="connsiteX7" fmla="*/ 1225 w 64465"/>
                <a:gd name="connsiteY7" fmla="*/ 62336 h 174129"/>
                <a:gd name="connsiteX8" fmla="*/ 4667 w 64465"/>
                <a:gd name="connsiteY8" fmla="*/ 45710 h 174129"/>
                <a:gd name="connsiteX9" fmla="*/ 21639 w 64465"/>
                <a:gd name="connsiteY9" fmla="*/ 45710 h 174129"/>
                <a:gd name="connsiteX10" fmla="*/ 28169 w 64465"/>
                <a:gd name="connsiteY10" fmla="*/ 14719 h 174129"/>
                <a:gd name="connsiteX11" fmla="*/ 52736 w 64465"/>
                <a:gd name="connsiteY11" fmla="*/ -128 h 174129"/>
                <a:gd name="connsiteX12" fmla="*/ 43124 w 64465"/>
                <a:gd name="connsiteY12" fmla="*/ 45710 h 174129"/>
                <a:gd name="connsiteX13" fmla="*/ 64250 w 64465"/>
                <a:gd name="connsiteY13" fmla="*/ 45710 h 174129"/>
                <a:gd name="connsiteX14" fmla="*/ 60692 w 64465"/>
                <a:gd name="connsiteY14" fmla="*/ 62336 h 174129"/>
                <a:gd name="connsiteX15" fmla="*/ 39698 w 64465"/>
                <a:gd name="connsiteY15" fmla="*/ 62336 h 174129"/>
                <a:gd name="connsiteX16" fmla="*/ 25097 w 64465"/>
                <a:gd name="connsiteY16" fmla="*/ 132039 h 174129"/>
                <a:gd name="connsiteX17" fmla="*/ 22368 w 64465"/>
                <a:gd name="connsiteY17" fmla="*/ 147952 h 174129"/>
                <a:gd name="connsiteX18" fmla="*/ 24578 w 64465"/>
                <a:gd name="connsiteY18" fmla="*/ 153772 h 174129"/>
                <a:gd name="connsiteX19" fmla="*/ 31759 w 64465"/>
                <a:gd name="connsiteY19" fmla="*/ 155790 h 174129"/>
                <a:gd name="connsiteX20" fmla="*/ 44449 w 64465"/>
                <a:gd name="connsiteY20" fmla="*/ 154364 h 17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465" h="174129">
                  <a:moveTo>
                    <a:pt x="44449" y="154364"/>
                  </a:moveTo>
                  <a:lnTo>
                    <a:pt x="40892" y="171940"/>
                  </a:lnTo>
                  <a:cubicBezTo>
                    <a:pt x="36013" y="173250"/>
                    <a:pt x="30986" y="173924"/>
                    <a:pt x="25937" y="173957"/>
                  </a:cubicBezTo>
                  <a:cubicBezTo>
                    <a:pt x="18594" y="174350"/>
                    <a:pt x="11346" y="172117"/>
                    <a:pt x="5496" y="167662"/>
                  </a:cubicBezTo>
                  <a:cubicBezTo>
                    <a:pt x="1684" y="164473"/>
                    <a:pt x="-421" y="159686"/>
                    <a:pt x="-200" y="154723"/>
                  </a:cubicBezTo>
                  <a:cubicBezTo>
                    <a:pt x="352" y="148283"/>
                    <a:pt x="1385" y="141889"/>
                    <a:pt x="2888" y="135604"/>
                  </a:cubicBezTo>
                  <a:lnTo>
                    <a:pt x="18197" y="62336"/>
                  </a:lnTo>
                  <a:lnTo>
                    <a:pt x="1225" y="62336"/>
                  </a:lnTo>
                  <a:lnTo>
                    <a:pt x="4667" y="45710"/>
                  </a:lnTo>
                  <a:lnTo>
                    <a:pt x="21639" y="45710"/>
                  </a:lnTo>
                  <a:lnTo>
                    <a:pt x="28169" y="14719"/>
                  </a:lnTo>
                  <a:lnTo>
                    <a:pt x="52736" y="-128"/>
                  </a:lnTo>
                  <a:lnTo>
                    <a:pt x="43124" y="45710"/>
                  </a:lnTo>
                  <a:lnTo>
                    <a:pt x="64250" y="45710"/>
                  </a:lnTo>
                  <a:lnTo>
                    <a:pt x="60692" y="62336"/>
                  </a:lnTo>
                  <a:lnTo>
                    <a:pt x="39698" y="62336"/>
                  </a:lnTo>
                  <a:lnTo>
                    <a:pt x="25097" y="132039"/>
                  </a:lnTo>
                  <a:cubicBezTo>
                    <a:pt x="23859" y="137284"/>
                    <a:pt x="22948" y="142596"/>
                    <a:pt x="22368" y="147952"/>
                  </a:cubicBezTo>
                  <a:cubicBezTo>
                    <a:pt x="22224" y="150119"/>
                    <a:pt x="23031" y="152246"/>
                    <a:pt x="24578" y="153772"/>
                  </a:cubicBezTo>
                  <a:cubicBezTo>
                    <a:pt x="26638" y="155309"/>
                    <a:pt x="29196" y="156027"/>
                    <a:pt x="31759" y="155790"/>
                  </a:cubicBezTo>
                  <a:cubicBezTo>
                    <a:pt x="36030" y="155845"/>
                    <a:pt x="40295" y="155364"/>
                    <a:pt x="44449" y="154364"/>
                  </a:cubicBezTo>
                  <a:close/>
                </a:path>
              </a:pathLst>
            </a:custGeom>
            <a:solidFill>
              <a:srgbClr val="FFFFFF"/>
            </a:solidFill>
            <a:ln w="5506"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683F25D5-32F4-4811-B3A0-0E5DD74ED1C7}"/>
                </a:ext>
              </a:extLst>
            </p:cNvPr>
            <p:cNvSpPr/>
            <p:nvPr/>
          </p:nvSpPr>
          <p:spPr>
            <a:xfrm>
              <a:off x="7004974" y="4343117"/>
              <a:ext cx="116761" cy="131848"/>
            </a:xfrm>
            <a:custGeom>
              <a:avLst/>
              <a:gdLst>
                <a:gd name="connsiteX0" fmla="*/ 87862 w 116761"/>
                <a:gd name="connsiteY0" fmla="*/ 85988 h 131848"/>
                <a:gd name="connsiteX1" fmla="*/ 108750 w 116761"/>
                <a:gd name="connsiteY1" fmla="*/ 88127 h 131848"/>
                <a:gd name="connsiteX2" fmla="*/ 88038 w 116761"/>
                <a:gd name="connsiteY2" fmla="*/ 117697 h 131848"/>
                <a:gd name="connsiteX3" fmla="*/ 49405 w 116761"/>
                <a:gd name="connsiteY3" fmla="*/ 131709 h 131848"/>
                <a:gd name="connsiteX4" fmla="*/ 23710 w 116761"/>
                <a:gd name="connsiteY4" fmla="*/ 125237 h 131848"/>
                <a:gd name="connsiteX5" fmla="*/ 5905 w 116761"/>
                <a:gd name="connsiteY5" fmla="*/ 106444 h 131848"/>
                <a:gd name="connsiteX6" fmla="*/ -206 w 116761"/>
                <a:gd name="connsiteY6" fmla="*/ 78300 h 131848"/>
                <a:gd name="connsiteX7" fmla="*/ 9346 w 116761"/>
                <a:gd name="connsiteY7" fmla="*/ 38222 h 131848"/>
                <a:gd name="connsiteX8" fmla="*/ 34096 w 116761"/>
                <a:gd name="connsiteY8" fmla="*/ 9364 h 131848"/>
                <a:gd name="connsiteX9" fmla="*/ 66973 w 116761"/>
                <a:gd name="connsiteY9" fmla="*/ -76 h 131848"/>
                <a:gd name="connsiteX10" fmla="*/ 102993 w 116761"/>
                <a:gd name="connsiteY10" fmla="*/ 13935 h 131848"/>
                <a:gd name="connsiteX11" fmla="*/ 116468 w 116761"/>
                <a:gd name="connsiteY11" fmla="*/ 52173 h 131848"/>
                <a:gd name="connsiteX12" fmla="*/ 114810 w 116761"/>
                <a:gd name="connsiteY12" fmla="*/ 71175 h 131848"/>
                <a:gd name="connsiteX13" fmla="*/ 21976 w 116761"/>
                <a:gd name="connsiteY13" fmla="*/ 71175 h 131848"/>
                <a:gd name="connsiteX14" fmla="*/ 21501 w 116761"/>
                <a:gd name="connsiteY14" fmla="*/ 77808 h 131848"/>
                <a:gd name="connsiteX15" fmla="*/ 29633 w 116761"/>
                <a:gd name="connsiteY15" fmla="*/ 104825 h 131848"/>
                <a:gd name="connsiteX16" fmla="*/ 49521 w 116761"/>
                <a:gd name="connsiteY16" fmla="*/ 114143 h 131848"/>
                <a:gd name="connsiteX17" fmla="*/ 71238 w 116761"/>
                <a:gd name="connsiteY17" fmla="*/ 106903 h 131848"/>
                <a:gd name="connsiteX18" fmla="*/ 87862 w 116761"/>
                <a:gd name="connsiteY18" fmla="*/ 85988 h 131848"/>
                <a:gd name="connsiteX19" fmla="*/ 25434 w 116761"/>
                <a:gd name="connsiteY19" fmla="*/ 54759 h 131848"/>
                <a:gd name="connsiteX20" fmla="*/ 96171 w 116761"/>
                <a:gd name="connsiteY20" fmla="*/ 54759 h 131848"/>
                <a:gd name="connsiteX21" fmla="*/ 96292 w 116761"/>
                <a:gd name="connsiteY21" fmla="*/ 50011 h 131848"/>
                <a:gd name="connsiteX22" fmla="*/ 88221 w 116761"/>
                <a:gd name="connsiteY22" fmla="*/ 25249 h 131848"/>
                <a:gd name="connsiteX23" fmla="*/ 67448 w 116761"/>
                <a:gd name="connsiteY23" fmla="*/ 16643 h 131848"/>
                <a:gd name="connsiteX24" fmla="*/ 42345 w 116761"/>
                <a:gd name="connsiteY24" fmla="*/ 26139 h 131848"/>
                <a:gd name="connsiteX25" fmla="*/ 25429 w 116761"/>
                <a:gd name="connsiteY25" fmla="*/ 54759 h 13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761" h="131848">
                  <a:moveTo>
                    <a:pt x="87862" y="85988"/>
                  </a:moveTo>
                  <a:lnTo>
                    <a:pt x="108750" y="88127"/>
                  </a:lnTo>
                  <a:cubicBezTo>
                    <a:pt x="104866" y="99789"/>
                    <a:pt x="97668" y="110064"/>
                    <a:pt x="88038" y="117697"/>
                  </a:cubicBezTo>
                  <a:cubicBezTo>
                    <a:pt x="77343" y="127000"/>
                    <a:pt x="63576" y="131996"/>
                    <a:pt x="49405" y="131709"/>
                  </a:cubicBezTo>
                  <a:cubicBezTo>
                    <a:pt x="40428" y="131797"/>
                    <a:pt x="31577" y="129570"/>
                    <a:pt x="23710" y="125237"/>
                  </a:cubicBezTo>
                  <a:cubicBezTo>
                    <a:pt x="15965" y="120981"/>
                    <a:pt x="9739" y="114409"/>
                    <a:pt x="5905" y="106444"/>
                  </a:cubicBezTo>
                  <a:cubicBezTo>
                    <a:pt x="1706" y="97667"/>
                    <a:pt x="-382" y="88028"/>
                    <a:pt x="-206" y="78300"/>
                  </a:cubicBezTo>
                  <a:cubicBezTo>
                    <a:pt x="-172" y="64382"/>
                    <a:pt x="3098" y="50658"/>
                    <a:pt x="9346" y="38222"/>
                  </a:cubicBezTo>
                  <a:cubicBezTo>
                    <a:pt x="14694" y="26449"/>
                    <a:pt x="23279" y="16444"/>
                    <a:pt x="34096" y="9364"/>
                  </a:cubicBezTo>
                  <a:cubicBezTo>
                    <a:pt x="43936" y="3152"/>
                    <a:pt x="55339" y="-120"/>
                    <a:pt x="66973" y="-76"/>
                  </a:cubicBezTo>
                  <a:cubicBezTo>
                    <a:pt x="80420" y="-701"/>
                    <a:pt x="93502" y="4390"/>
                    <a:pt x="102993" y="13935"/>
                  </a:cubicBezTo>
                  <a:cubicBezTo>
                    <a:pt x="112385" y="24382"/>
                    <a:pt x="117230" y="38144"/>
                    <a:pt x="116468" y="52173"/>
                  </a:cubicBezTo>
                  <a:cubicBezTo>
                    <a:pt x="116451" y="58540"/>
                    <a:pt x="115899" y="64896"/>
                    <a:pt x="114810" y="71175"/>
                  </a:cubicBezTo>
                  <a:lnTo>
                    <a:pt x="21976" y="71175"/>
                  </a:lnTo>
                  <a:cubicBezTo>
                    <a:pt x="21677" y="73375"/>
                    <a:pt x="21517" y="75591"/>
                    <a:pt x="21501" y="77808"/>
                  </a:cubicBezTo>
                  <a:cubicBezTo>
                    <a:pt x="20832" y="87502"/>
                    <a:pt x="23727" y="97109"/>
                    <a:pt x="29633" y="104825"/>
                  </a:cubicBezTo>
                  <a:cubicBezTo>
                    <a:pt x="34511" y="110783"/>
                    <a:pt x="41825" y="114210"/>
                    <a:pt x="49521" y="114143"/>
                  </a:cubicBezTo>
                  <a:cubicBezTo>
                    <a:pt x="57327" y="114000"/>
                    <a:pt x="64907" y="111474"/>
                    <a:pt x="71238" y="106903"/>
                  </a:cubicBezTo>
                  <a:cubicBezTo>
                    <a:pt x="78680" y="101680"/>
                    <a:pt x="84453" y="94417"/>
                    <a:pt x="87862" y="85988"/>
                  </a:cubicBezTo>
                  <a:close/>
                  <a:moveTo>
                    <a:pt x="25434" y="54759"/>
                  </a:moveTo>
                  <a:lnTo>
                    <a:pt x="96171" y="54759"/>
                  </a:lnTo>
                  <a:cubicBezTo>
                    <a:pt x="96248" y="52548"/>
                    <a:pt x="96292" y="50962"/>
                    <a:pt x="96292" y="50011"/>
                  </a:cubicBezTo>
                  <a:cubicBezTo>
                    <a:pt x="96894" y="41024"/>
                    <a:pt x="94005" y="32153"/>
                    <a:pt x="88221" y="25249"/>
                  </a:cubicBezTo>
                  <a:cubicBezTo>
                    <a:pt x="82856" y="19523"/>
                    <a:pt x="75288" y="16384"/>
                    <a:pt x="67448" y="16643"/>
                  </a:cubicBezTo>
                  <a:cubicBezTo>
                    <a:pt x="58206" y="16666"/>
                    <a:pt x="49289" y="20037"/>
                    <a:pt x="42345" y="26139"/>
                  </a:cubicBezTo>
                  <a:cubicBezTo>
                    <a:pt x="33986" y="33783"/>
                    <a:pt x="28097" y="43749"/>
                    <a:pt x="25429" y="54759"/>
                  </a:cubicBezTo>
                  <a:close/>
                </a:path>
              </a:pathLst>
            </a:custGeom>
            <a:solidFill>
              <a:srgbClr val="FFFFFF"/>
            </a:solidFill>
            <a:ln w="5506"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BB152D0C-E801-4942-A6D5-2FBA71C7D1D9}"/>
                </a:ext>
              </a:extLst>
            </p:cNvPr>
            <p:cNvSpPr/>
            <p:nvPr/>
          </p:nvSpPr>
          <p:spPr>
            <a:xfrm>
              <a:off x="7134446" y="4343141"/>
              <a:ext cx="93884" cy="128960"/>
            </a:xfrm>
            <a:custGeom>
              <a:avLst/>
              <a:gdLst>
                <a:gd name="connsiteX0" fmla="*/ -216 w 93884"/>
                <a:gd name="connsiteY0" fmla="*/ 128833 h 128960"/>
                <a:gd name="connsiteX1" fmla="*/ 26136 w 93884"/>
                <a:gd name="connsiteY1" fmla="*/ 2724 h 128960"/>
                <a:gd name="connsiteX2" fmla="*/ 45124 w 93884"/>
                <a:gd name="connsiteY2" fmla="*/ 2724 h 128960"/>
                <a:gd name="connsiteX3" fmla="*/ 39788 w 93884"/>
                <a:gd name="connsiteY3" fmla="*/ 28492 h 128960"/>
                <a:gd name="connsiteX4" fmla="*/ 58836 w 93884"/>
                <a:gd name="connsiteY4" fmla="*/ 6881 h 128960"/>
                <a:gd name="connsiteX5" fmla="*/ 77885 w 93884"/>
                <a:gd name="connsiteY5" fmla="*/ -128 h 128960"/>
                <a:gd name="connsiteX6" fmla="*/ 93669 w 93884"/>
                <a:gd name="connsiteY6" fmla="*/ 4504 h 128960"/>
                <a:gd name="connsiteX7" fmla="*/ 84890 w 93884"/>
                <a:gd name="connsiteY7" fmla="*/ 24452 h 128960"/>
                <a:gd name="connsiteX8" fmla="*/ 72664 w 93884"/>
                <a:gd name="connsiteY8" fmla="*/ 20417 h 128960"/>
                <a:gd name="connsiteX9" fmla="*/ 49516 w 93884"/>
                <a:gd name="connsiteY9" fmla="*/ 33002 h 128960"/>
                <a:gd name="connsiteX10" fmla="*/ 30882 w 93884"/>
                <a:gd name="connsiteY10" fmla="*/ 78248 h 128960"/>
                <a:gd name="connsiteX11" fmla="*/ 20203 w 93884"/>
                <a:gd name="connsiteY11" fmla="*/ 128833 h 12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884" h="128960">
                  <a:moveTo>
                    <a:pt x="-216" y="128833"/>
                  </a:moveTo>
                  <a:lnTo>
                    <a:pt x="26136" y="2724"/>
                  </a:lnTo>
                  <a:lnTo>
                    <a:pt x="45124" y="2724"/>
                  </a:lnTo>
                  <a:lnTo>
                    <a:pt x="39788" y="28492"/>
                  </a:lnTo>
                  <a:cubicBezTo>
                    <a:pt x="44898" y="20284"/>
                    <a:pt x="51340" y="12983"/>
                    <a:pt x="58836" y="6881"/>
                  </a:cubicBezTo>
                  <a:cubicBezTo>
                    <a:pt x="64234" y="2503"/>
                    <a:pt x="70935" y="38"/>
                    <a:pt x="77885" y="-128"/>
                  </a:cubicBezTo>
                  <a:cubicBezTo>
                    <a:pt x="83426" y="226"/>
                    <a:pt x="88818" y="1807"/>
                    <a:pt x="93669" y="4504"/>
                  </a:cubicBezTo>
                  <a:lnTo>
                    <a:pt x="84890" y="24452"/>
                  </a:lnTo>
                  <a:cubicBezTo>
                    <a:pt x="81354" y="21826"/>
                    <a:pt x="77067" y="20412"/>
                    <a:pt x="72664" y="20417"/>
                  </a:cubicBezTo>
                  <a:cubicBezTo>
                    <a:pt x="65140" y="20417"/>
                    <a:pt x="57422" y="24612"/>
                    <a:pt x="49516" y="33002"/>
                  </a:cubicBezTo>
                  <a:cubicBezTo>
                    <a:pt x="41611" y="41393"/>
                    <a:pt x="35396" y="56476"/>
                    <a:pt x="30882" y="78248"/>
                  </a:cubicBezTo>
                  <a:lnTo>
                    <a:pt x="20203" y="128833"/>
                  </a:lnTo>
                  <a:close/>
                </a:path>
              </a:pathLst>
            </a:custGeom>
            <a:solidFill>
              <a:srgbClr val="FFFFFF"/>
            </a:solidFill>
            <a:ln w="5506" cap="flat">
              <a:noFill/>
              <a:prstDash val="solid"/>
              <a:miter/>
            </a:ln>
          </p:spPr>
          <p:txBody>
            <a:bodyPr rtlCol="0" anchor="ctr"/>
            <a:lstStyle/>
            <a:p>
              <a:endParaRPr lang="en-US"/>
            </a:p>
          </p:txBody>
        </p:sp>
      </p:grpSp>
    </p:spTree>
    <p:extLst>
      <p:ext uri="{BB962C8B-B14F-4D97-AF65-F5344CB8AC3E}">
        <p14:creationId xmlns:p14="http://schemas.microsoft.com/office/powerpoint/2010/main" val="16822917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grpSp>
        <p:nvGrpSpPr>
          <p:cNvPr id="10" name="Graphic 3">
            <a:extLst>
              <a:ext uri="{FF2B5EF4-FFF2-40B4-BE49-F238E27FC236}">
                <a16:creationId xmlns:a16="http://schemas.microsoft.com/office/drawing/2014/main" id="{7FDEB4E8-FD64-4E1D-A51D-1595BFD1AD36}"/>
              </a:ext>
            </a:extLst>
          </p:cNvPr>
          <p:cNvGrpSpPr/>
          <p:nvPr userDrawn="1"/>
        </p:nvGrpSpPr>
        <p:grpSpPr>
          <a:xfrm>
            <a:off x="5156911" y="1931306"/>
            <a:ext cx="1879226" cy="1880122"/>
            <a:chOff x="5156911" y="1931306"/>
            <a:chExt cx="1879226" cy="1880122"/>
          </a:xfrm>
        </p:grpSpPr>
        <p:sp>
          <p:nvSpPr>
            <p:cNvPr id="18" name="Freeform: Shape 17">
              <a:extLst>
                <a:ext uri="{FF2B5EF4-FFF2-40B4-BE49-F238E27FC236}">
                  <a16:creationId xmlns:a16="http://schemas.microsoft.com/office/drawing/2014/main" id="{345AD7A0-D696-4874-B76E-5E956391E267}"/>
                </a:ext>
              </a:extLst>
            </p:cNvPr>
            <p:cNvSpPr/>
            <p:nvPr/>
          </p:nvSpPr>
          <p:spPr>
            <a:xfrm>
              <a:off x="5156911" y="3153598"/>
              <a:ext cx="410663" cy="525526"/>
            </a:xfrm>
            <a:custGeom>
              <a:avLst/>
              <a:gdLst>
                <a:gd name="connsiteX0" fmla="*/ 93083 w 410663"/>
                <a:gd name="connsiteY0" fmla="*/ 296081 h 525526"/>
                <a:gd name="connsiteX1" fmla="*/ 93083 w 410663"/>
                <a:gd name="connsiteY1" fmla="*/ 525399 h 525526"/>
                <a:gd name="connsiteX2" fmla="*/ -216 w 410663"/>
                <a:gd name="connsiteY2" fmla="*/ 525399 h 525526"/>
                <a:gd name="connsiteX3" fmla="*/ -216 w 410663"/>
                <a:gd name="connsiteY3" fmla="*/ -128 h 525526"/>
                <a:gd name="connsiteX4" fmla="*/ 93083 w 410663"/>
                <a:gd name="connsiteY4" fmla="*/ -128 h 525526"/>
                <a:gd name="connsiteX5" fmla="*/ 93083 w 410663"/>
                <a:gd name="connsiteY5" fmla="*/ 213775 h 525526"/>
                <a:gd name="connsiteX6" fmla="*/ 317154 w 410663"/>
                <a:gd name="connsiteY6" fmla="*/ 213775 h 525526"/>
                <a:gd name="connsiteX7" fmla="*/ 317154 w 410663"/>
                <a:gd name="connsiteY7" fmla="*/ -128 h 525526"/>
                <a:gd name="connsiteX8" fmla="*/ 410448 w 410663"/>
                <a:gd name="connsiteY8" fmla="*/ -128 h 525526"/>
                <a:gd name="connsiteX9" fmla="*/ 410448 w 410663"/>
                <a:gd name="connsiteY9" fmla="*/ 525399 h 525526"/>
                <a:gd name="connsiteX10" fmla="*/ 317154 w 410663"/>
                <a:gd name="connsiteY10" fmla="*/ 525399 h 525526"/>
                <a:gd name="connsiteX11" fmla="*/ 317154 w 410663"/>
                <a:gd name="connsiteY11" fmla="*/ 296081 h 52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0663" h="525526">
                  <a:moveTo>
                    <a:pt x="93083" y="296081"/>
                  </a:moveTo>
                  <a:lnTo>
                    <a:pt x="93083" y="525399"/>
                  </a:lnTo>
                  <a:lnTo>
                    <a:pt x="-216" y="525399"/>
                  </a:lnTo>
                  <a:lnTo>
                    <a:pt x="-216" y="-128"/>
                  </a:lnTo>
                  <a:lnTo>
                    <a:pt x="93083" y="-128"/>
                  </a:lnTo>
                  <a:lnTo>
                    <a:pt x="93083" y="213775"/>
                  </a:lnTo>
                  <a:lnTo>
                    <a:pt x="317154" y="213775"/>
                  </a:lnTo>
                  <a:lnTo>
                    <a:pt x="317154" y="-128"/>
                  </a:lnTo>
                  <a:lnTo>
                    <a:pt x="410448" y="-128"/>
                  </a:lnTo>
                  <a:lnTo>
                    <a:pt x="410448" y="525399"/>
                  </a:lnTo>
                  <a:lnTo>
                    <a:pt x="317154" y="525399"/>
                  </a:lnTo>
                  <a:lnTo>
                    <a:pt x="317154" y="296081"/>
                  </a:lnTo>
                  <a:close/>
                </a:path>
              </a:pathLst>
            </a:custGeom>
            <a:solidFill>
              <a:srgbClr val="FFFFFF"/>
            </a:solidFill>
            <a:ln w="550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77853CEE-6361-4B9B-BED6-010C543CB99B}"/>
                </a:ext>
              </a:extLst>
            </p:cNvPr>
            <p:cNvSpPr/>
            <p:nvPr/>
          </p:nvSpPr>
          <p:spPr>
            <a:xfrm>
              <a:off x="5602821" y="3293248"/>
              <a:ext cx="382758" cy="518180"/>
            </a:xfrm>
            <a:custGeom>
              <a:avLst/>
              <a:gdLst>
                <a:gd name="connsiteX0" fmla="*/ 85028 w 382758"/>
                <a:gd name="connsiteY0" fmla="*/ 518053 h 518180"/>
                <a:gd name="connsiteX1" fmla="*/ 145246 w 382758"/>
                <a:gd name="connsiteY1" fmla="*/ 375451 h 518180"/>
                <a:gd name="connsiteX2" fmla="*/ -216 w 382758"/>
                <a:gd name="connsiteY2" fmla="*/ -128 h 518180"/>
                <a:gd name="connsiteX3" fmla="*/ 98232 w 382758"/>
                <a:gd name="connsiteY3" fmla="*/ -128 h 518180"/>
                <a:gd name="connsiteX4" fmla="*/ 192266 w 382758"/>
                <a:gd name="connsiteY4" fmla="*/ 275498 h 518180"/>
                <a:gd name="connsiteX5" fmla="*/ 286305 w 382758"/>
                <a:gd name="connsiteY5" fmla="*/ -128 h 518180"/>
                <a:gd name="connsiteX6" fmla="*/ 382543 w 382758"/>
                <a:gd name="connsiteY6" fmla="*/ -128 h 518180"/>
                <a:gd name="connsiteX7" fmla="*/ 176106 w 382758"/>
                <a:gd name="connsiteY7" fmla="*/ 518048 h 51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758" h="518180">
                  <a:moveTo>
                    <a:pt x="85028" y="518053"/>
                  </a:moveTo>
                  <a:lnTo>
                    <a:pt x="145246" y="375451"/>
                  </a:lnTo>
                  <a:cubicBezTo>
                    <a:pt x="101166" y="258590"/>
                    <a:pt x="47539" y="121145"/>
                    <a:pt x="-216" y="-128"/>
                  </a:cubicBezTo>
                  <a:lnTo>
                    <a:pt x="98232" y="-128"/>
                  </a:lnTo>
                  <a:cubicBezTo>
                    <a:pt x="140843" y="122615"/>
                    <a:pt x="165079" y="199791"/>
                    <a:pt x="192266" y="275498"/>
                  </a:cubicBezTo>
                  <a:cubicBezTo>
                    <a:pt x="215778" y="211548"/>
                    <a:pt x="254693" y="91010"/>
                    <a:pt x="286305" y="-128"/>
                  </a:cubicBezTo>
                  <a:lnTo>
                    <a:pt x="382543" y="-128"/>
                  </a:lnTo>
                  <a:cubicBezTo>
                    <a:pt x="314955" y="170392"/>
                    <a:pt x="248103" y="341647"/>
                    <a:pt x="176106" y="518048"/>
                  </a:cubicBezTo>
                  <a:close/>
                </a:path>
              </a:pathLst>
            </a:custGeom>
            <a:solidFill>
              <a:srgbClr val="FFFFFF"/>
            </a:solidFill>
            <a:ln w="550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7B515AAC-4EAA-4830-98A5-01D5C39123B6}"/>
                </a:ext>
              </a:extLst>
            </p:cNvPr>
            <p:cNvSpPr/>
            <p:nvPr/>
          </p:nvSpPr>
          <p:spPr>
            <a:xfrm>
              <a:off x="5975309" y="3153598"/>
              <a:ext cx="395238" cy="534347"/>
            </a:xfrm>
            <a:custGeom>
              <a:avLst/>
              <a:gdLst>
                <a:gd name="connsiteX0" fmla="*/ 310536 w 395238"/>
                <a:gd name="connsiteY0" fmla="*/ 525399 h 534347"/>
                <a:gd name="connsiteX1" fmla="*/ 310536 w 395238"/>
                <a:gd name="connsiteY1" fmla="*/ 471011 h 534347"/>
                <a:gd name="connsiteX2" fmla="*/ 177570 w 395238"/>
                <a:gd name="connsiteY2" fmla="*/ 534220 h 534347"/>
                <a:gd name="connsiteX3" fmla="*/ -216 w 395238"/>
                <a:gd name="connsiteY3" fmla="*/ 331372 h 534347"/>
                <a:gd name="connsiteX4" fmla="*/ 179769 w 395238"/>
                <a:gd name="connsiteY4" fmla="*/ 127042 h 534347"/>
                <a:gd name="connsiteX5" fmla="*/ 306133 w 395238"/>
                <a:gd name="connsiteY5" fmla="*/ 188781 h 534347"/>
                <a:gd name="connsiteX6" fmla="*/ 305398 w 395238"/>
                <a:gd name="connsiteY6" fmla="*/ 112346 h 534347"/>
                <a:gd name="connsiteX7" fmla="*/ 305398 w 395238"/>
                <a:gd name="connsiteY7" fmla="*/ -128 h 534347"/>
                <a:gd name="connsiteX8" fmla="*/ 395023 w 395238"/>
                <a:gd name="connsiteY8" fmla="*/ -128 h 534347"/>
                <a:gd name="connsiteX9" fmla="*/ 395023 w 395238"/>
                <a:gd name="connsiteY9" fmla="*/ 525399 h 534347"/>
                <a:gd name="connsiteX10" fmla="*/ 91614 w 395238"/>
                <a:gd name="connsiteY10" fmla="*/ 332831 h 534347"/>
                <a:gd name="connsiteX11" fmla="*/ 198138 w 395238"/>
                <a:gd name="connsiteY11" fmla="*/ 461455 h 534347"/>
                <a:gd name="connsiteX12" fmla="*/ 309801 w 395238"/>
                <a:gd name="connsiteY12" fmla="*/ 329907 h 534347"/>
                <a:gd name="connsiteX13" fmla="*/ 198873 w 395238"/>
                <a:gd name="connsiteY13" fmla="*/ 201284 h 534347"/>
                <a:gd name="connsiteX14" fmla="*/ 91614 w 395238"/>
                <a:gd name="connsiteY14" fmla="*/ 332831 h 534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238" h="534347">
                  <a:moveTo>
                    <a:pt x="310536" y="525399"/>
                  </a:moveTo>
                  <a:lnTo>
                    <a:pt x="310536" y="471011"/>
                  </a:lnTo>
                  <a:cubicBezTo>
                    <a:pt x="288498" y="504821"/>
                    <a:pt x="243688" y="534220"/>
                    <a:pt x="177570" y="534220"/>
                  </a:cubicBezTo>
                  <a:cubicBezTo>
                    <a:pt x="72510" y="534220"/>
                    <a:pt x="-216" y="451904"/>
                    <a:pt x="-216" y="331372"/>
                  </a:cubicBezTo>
                  <a:cubicBezTo>
                    <a:pt x="-216" y="214510"/>
                    <a:pt x="69576" y="127042"/>
                    <a:pt x="179769" y="127042"/>
                  </a:cubicBezTo>
                  <a:cubicBezTo>
                    <a:pt x="240744" y="127042"/>
                    <a:pt x="284830" y="157177"/>
                    <a:pt x="306133" y="188781"/>
                  </a:cubicBezTo>
                  <a:cubicBezTo>
                    <a:pt x="305398" y="161587"/>
                    <a:pt x="305398" y="138804"/>
                    <a:pt x="305398" y="112346"/>
                  </a:cubicBezTo>
                  <a:lnTo>
                    <a:pt x="305398" y="-128"/>
                  </a:lnTo>
                  <a:lnTo>
                    <a:pt x="395023" y="-128"/>
                  </a:lnTo>
                  <a:lnTo>
                    <a:pt x="395023" y="525399"/>
                  </a:lnTo>
                  <a:close/>
                  <a:moveTo>
                    <a:pt x="91614" y="332831"/>
                  </a:moveTo>
                  <a:cubicBezTo>
                    <a:pt x="91614" y="406343"/>
                    <a:pt x="131286" y="461455"/>
                    <a:pt x="198138" y="461455"/>
                  </a:cubicBezTo>
                  <a:cubicBezTo>
                    <a:pt x="267930" y="461455"/>
                    <a:pt x="309801" y="405597"/>
                    <a:pt x="309801" y="329907"/>
                  </a:cubicBezTo>
                  <a:cubicBezTo>
                    <a:pt x="309801" y="255671"/>
                    <a:pt x="263522" y="201284"/>
                    <a:pt x="198873" y="201284"/>
                  </a:cubicBezTo>
                  <a:cubicBezTo>
                    <a:pt x="131286" y="201267"/>
                    <a:pt x="91614" y="259330"/>
                    <a:pt x="91614" y="332831"/>
                  </a:cubicBezTo>
                  <a:close/>
                </a:path>
              </a:pathLst>
            </a:custGeom>
            <a:solidFill>
              <a:srgbClr val="FFFFFF"/>
            </a:solidFill>
            <a:ln w="550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F5FE2357-ED83-476A-A53D-08D1139156D7}"/>
                </a:ext>
              </a:extLst>
            </p:cNvPr>
            <p:cNvSpPr/>
            <p:nvPr/>
          </p:nvSpPr>
          <p:spPr>
            <a:xfrm>
              <a:off x="6427854" y="3283695"/>
              <a:ext cx="198354" cy="395429"/>
            </a:xfrm>
            <a:custGeom>
              <a:avLst/>
              <a:gdLst>
                <a:gd name="connsiteX0" fmla="*/ 84266 w 198354"/>
                <a:gd name="connsiteY0" fmla="*/ 8696 h 395429"/>
                <a:gd name="connsiteX1" fmla="*/ 84266 w 198354"/>
                <a:gd name="connsiteY1" fmla="*/ 35155 h 395429"/>
                <a:gd name="connsiteX2" fmla="*/ 83537 w 198354"/>
                <a:gd name="connsiteY2" fmla="*/ 60878 h 395429"/>
                <a:gd name="connsiteX3" fmla="*/ 176835 w 198354"/>
                <a:gd name="connsiteY3" fmla="*/ -125 h 395429"/>
                <a:gd name="connsiteX4" fmla="*/ 198138 w 198354"/>
                <a:gd name="connsiteY4" fmla="*/ 1345 h 395429"/>
                <a:gd name="connsiteX5" fmla="*/ 198138 w 198354"/>
                <a:gd name="connsiteY5" fmla="*/ 86607 h 395429"/>
                <a:gd name="connsiteX6" fmla="*/ 172427 w 198354"/>
                <a:gd name="connsiteY6" fmla="*/ 83667 h 395429"/>
                <a:gd name="connsiteX7" fmla="*/ 90144 w 198354"/>
                <a:gd name="connsiteY7" fmla="*/ 213004 h 395429"/>
                <a:gd name="connsiteX8" fmla="*/ 90144 w 198354"/>
                <a:gd name="connsiteY8" fmla="*/ 395302 h 395429"/>
                <a:gd name="connsiteX9" fmla="*/ 519 w 198354"/>
                <a:gd name="connsiteY9" fmla="*/ 395302 h 395429"/>
                <a:gd name="connsiteX10" fmla="*/ 519 w 198354"/>
                <a:gd name="connsiteY10" fmla="*/ 78521 h 395429"/>
                <a:gd name="connsiteX11" fmla="*/ -216 w 198354"/>
                <a:gd name="connsiteY11" fmla="*/ 8696 h 39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354" h="395429">
                  <a:moveTo>
                    <a:pt x="84266" y="8696"/>
                  </a:moveTo>
                  <a:lnTo>
                    <a:pt x="84266" y="35155"/>
                  </a:lnTo>
                  <a:cubicBezTo>
                    <a:pt x="84266" y="43998"/>
                    <a:pt x="84266" y="52792"/>
                    <a:pt x="83537" y="60878"/>
                  </a:cubicBezTo>
                  <a:cubicBezTo>
                    <a:pt x="96757" y="21928"/>
                    <a:pt x="132755" y="-125"/>
                    <a:pt x="176835" y="-125"/>
                  </a:cubicBezTo>
                  <a:cubicBezTo>
                    <a:pt x="183962" y="-164"/>
                    <a:pt x="191083" y="328"/>
                    <a:pt x="198138" y="1345"/>
                  </a:cubicBezTo>
                  <a:lnTo>
                    <a:pt x="198138" y="86607"/>
                  </a:lnTo>
                  <a:cubicBezTo>
                    <a:pt x="189752" y="84413"/>
                    <a:pt x="181095" y="83424"/>
                    <a:pt x="172427" y="83667"/>
                  </a:cubicBezTo>
                  <a:cubicBezTo>
                    <a:pt x="102635" y="83667"/>
                    <a:pt x="90144" y="133644"/>
                    <a:pt x="90144" y="213004"/>
                  </a:cubicBezTo>
                  <a:lnTo>
                    <a:pt x="90144" y="395302"/>
                  </a:lnTo>
                  <a:lnTo>
                    <a:pt x="519" y="395302"/>
                  </a:lnTo>
                  <a:lnTo>
                    <a:pt x="519" y="78521"/>
                  </a:lnTo>
                  <a:cubicBezTo>
                    <a:pt x="519" y="54268"/>
                    <a:pt x="519" y="32214"/>
                    <a:pt x="-216" y="8696"/>
                  </a:cubicBezTo>
                  <a:close/>
                </a:path>
              </a:pathLst>
            </a:custGeom>
            <a:solidFill>
              <a:srgbClr val="FFFFFF"/>
            </a:solidFill>
            <a:ln w="550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CF2C96C7-C4B4-43D5-A03F-ECD6DEDC1882}"/>
                </a:ext>
              </a:extLst>
            </p:cNvPr>
            <p:cNvSpPr/>
            <p:nvPr/>
          </p:nvSpPr>
          <p:spPr>
            <a:xfrm>
              <a:off x="6632816" y="3280022"/>
              <a:ext cx="403321" cy="410864"/>
            </a:xfrm>
            <a:custGeom>
              <a:avLst/>
              <a:gdLst>
                <a:gd name="connsiteX0" fmla="*/ 403105 w 403321"/>
                <a:gd name="connsiteY0" fmla="*/ 206408 h 410864"/>
                <a:gd name="connsiteX1" fmla="*/ 199608 w 403321"/>
                <a:gd name="connsiteY1" fmla="*/ 410737 h 410864"/>
                <a:gd name="connsiteX2" fmla="*/ -216 w 403321"/>
                <a:gd name="connsiteY2" fmla="*/ 206408 h 410864"/>
                <a:gd name="connsiteX3" fmla="*/ 201078 w 403321"/>
                <a:gd name="connsiteY3" fmla="*/ -128 h 410864"/>
                <a:gd name="connsiteX4" fmla="*/ 403105 w 403321"/>
                <a:gd name="connsiteY4" fmla="*/ 206408 h 410864"/>
                <a:gd name="connsiteX5" fmla="*/ 91614 w 403321"/>
                <a:gd name="connsiteY5" fmla="*/ 205672 h 410864"/>
                <a:gd name="connsiteX6" fmla="*/ 199608 w 403321"/>
                <a:gd name="connsiteY6" fmla="*/ 335766 h 410864"/>
                <a:gd name="connsiteX7" fmla="*/ 308332 w 403321"/>
                <a:gd name="connsiteY7" fmla="*/ 205672 h 410864"/>
                <a:gd name="connsiteX8" fmla="*/ 199608 w 403321"/>
                <a:gd name="connsiteY8" fmla="*/ 74843 h 410864"/>
                <a:gd name="connsiteX9" fmla="*/ 91614 w 403321"/>
                <a:gd name="connsiteY9" fmla="*/ 205672 h 410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3321" h="410864">
                  <a:moveTo>
                    <a:pt x="403105" y="206408"/>
                  </a:moveTo>
                  <a:cubicBezTo>
                    <a:pt x="403105" y="325480"/>
                    <a:pt x="324496" y="410737"/>
                    <a:pt x="199608" y="410737"/>
                  </a:cubicBezTo>
                  <a:cubicBezTo>
                    <a:pt x="75449" y="410737"/>
                    <a:pt x="-216" y="324745"/>
                    <a:pt x="-216" y="206408"/>
                  </a:cubicBezTo>
                  <a:cubicBezTo>
                    <a:pt x="-216" y="85135"/>
                    <a:pt x="79857" y="-128"/>
                    <a:pt x="201078" y="-128"/>
                  </a:cubicBezTo>
                  <a:cubicBezTo>
                    <a:pt x="323027" y="-128"/>
                    <a:pt x="403105" y="85141"/>
                    <a:pt x="403105" y="206408"/>
                  </a:cubicBezTo>
                  <a:close/>
                  <a:moveTo>
                    <a:pt x="91614" y="205672"/>
                  </a:moveTo>
                  <a:cubicBezTo>
                    <a:pt x="91614" y="284313"/>
                    <a:pt x="132020" y="335766"/>
                    <a:pt x="199608" y="335766"/>
                  </a:cubicBezTo>
                  <a:cubicBezTo>
                    <a:pt x="267930" y="335766"/>
                    <a:pt x="308332" y="284313"/>
                    <a:pt x="308332" y="205672"/>
                  </a:cubicBezTo>
                  <a:cubicBezTo>
                    <a:pt x="308332" y="129231"/>
                    <a:pt x="267195" y="74843"/>
                    <a:pt x="199608" y="74843"/>
                  </a:cubicBezTo>
                  <a:cubicBezTo>
                    <a:pt x="132749" y="74843"/>
                    <a:pt x="91614" y="129231"/>
                    <a:pt x="91614" y="205672"/>
                  </a:cubicBezTo>
                  <a:close/>
                </a:path>
              </a:pathLst>
            </a:custGeom>
            <a:solidFill>
              <a:srgbClr val="FFFFFF"/>
            </a:solidFill>
            <a:ln w="550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81DE85CF-9F92-4E29-8ED4-9EBFFE17A045}"/>
                </a:ext>
              </a:extLst>
            </p:cNvPr>
            <p:cNvSpPr/>
            <p:nvPr/>
          </p:nvSpPr>
          <p:spPr>
            <a:xfrm>
              <a:off x="5604055" y="1931306"/>
              <a:ext cx="985320" cy="986163"/>
            </a:xfrm>
            <a:custGeom>
              <a:avLst/>
              <a:gdLst>
                <a:gd name="connsiteX0" fmla="*/ 492253 w 985320"/>
                <a:gd name="connsiteY0" fmla="*/ -128 h 986163"/>
                <a:gd name="connsiteX1" fmla="*/ 24625 w 985320"/>
                <a:gd name="connsiteY1" fmla="*/ -128 h 986163"/>
                <a:gd name="connsiteX2" fmla="*/ -213 w 985320"/>
                <a:gd name="connsiteY2" fmla="*/ 25469 h 986163"/>
                <a:gd name="connsiteX3" fmla="*/ 24625 w 985320"/>
                <a:gd name="connsiteY3" fmla="*/ 50319 h 986163"/>
                <a:gd name="connsiteX4" fmla="*/ 467049 w 985320"/>
                <a:gd name="connsiteY4" fmla="*/ 492954 h 986163"/>
                <a:gd name="connsiteX5" fmla="*/ 24625 w 985320"/>
                <a:gd name="connsiteY5" fmla="*/ 935589 h 986163"/>
                <a:gd name="connsiteX6" fmla="*/ -213 w 985320"/>
                <a:gd name="connsiteY6" fmla="*/ 961186 h 986163"/>
                <a:gd name="connsiteX7" fmla="*/ 24625 w 985320"/>
                <a:gd name="connsiteY7" fmla="*/ 986036 h 986163"/>
                <a:gd name="connsiteX8" fmla="*/ 492258 w 985320"/>
                <a:gd name="connsiteY8" fmla="*/ 986036 h 986163"/>
                <a:gd name="connsiteX9" fmla="*/ 985105 w 985320"/>
                <a:gd name="connsiteY9" fmla="*/ 492954 h 986163"/>
                <a:gd name="connsiteX10" fmla="*/ 492258 w 985320"/>
                <a:gd name="connsiteY10" fmla="*/ -128 h 986163"/>
                <a:gd name="connsiteX11" fmla="*/ 409307 w 985320"/>
                <a:gd name="connsiteY11" fmla="*/ 929471 h 986163"/>
                <a:gd name="connsiteX12" fmla="*/ 617130 w 985320"/>
                <a:gd name="connsiteY12" fmla="*/ 264360 h 986163"/>
                <a:gd name="connsiteX13" fmla="*/ 409307 w 985320"/>
                <a:gd name="connsiteY13" fmla="*/ 56438 h 986163"/>
                <a:gd name="connsiteX14" fmla="*/ 772773 w 985320"/>
                <a:gd name="connsiteY14" fmla="*/ 565831 h 986163"/>
                <a:gd name="connsiteX15" fmla="*/ 409307 w 985320"/>
                <a:gd name="connsiteY15" fmla="*/ 929471 h 986163"/>
                <a:gd name="connsiteX16" fmla="*/ 517467 w 985320"/>
                <a:gd name="connsiteY16" fmla="*/ 492954 h 986163"/>
                <a:gd name="connsiteX17" fmla="*/ 253646 w 985320"/>
                <a:gd name="connsiteY17" fmla="*/ 56477 h 986163"/>
                <a:gd name="connsiteX18" fmla="*/ 616843 w 985320"/>
                <a:gd name="connsiteY18" fmla="*/ 566063 h 986163"/>
                <a:gd name="connsiteX19" fmla="*/ 253646 w 985320"/>
                <a:gd name="connsiteY19" fmla="*/ 929432 h 986163"/>
                <a:gd name="connsiteX20" fmla="*/ 517467 w 985320"/>
                <a:gd name="connsiteY20" fmla="*/ 492954 h 986163"/>
                <a:gd name="connsiteX21" fmla="*/ 565182 w 985320"/>
                <a:gd name="connsiteY21" fmla="*/ 929471 h 986163"/>
                <a:gd name="connsiteX22" fmla="*/ 773017 w 985320"/>
                <a:gd name="connsiteY22" fmla="*/ 264371 h 986163"/>
                <a:gd name="connsiteX23" fmla="*/ 565182 w 985320"/>
                <a:gd name="connsiteY23" fmla="*/ 56438 h 986163"/>
                <a:gd name="connsiteX24" fmla="*/ 928649 w 985320"/>
                <a:gd name="connsiteY24" fmla="*/ 565831 h 986163"/>
                <a:gd name="connsiteX25" fmla="*/ 565182 w 985320"/>
                <a:gd name="connsiteY25" fmla="*/ 929471 h 98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5320" h="986163">
                  <a:moveTo>
                    <a:pt x="492253" y="-128"/>
                  </a:moveTo>
                  <a:lnTo>
                    <a:pt x="24625" y="-128"/>
                  </a:lnTo>
                  <a:cubicBezTo>
                    <a:pt x="10704" y="77"/>
                    <a:pt x="-417" y="11540"/>
                    <a:pt x="-213" y="25469"/>
                  </a:cubicBezTo>
                  <a:cubicBezTo>
                    <a:pt x="-9" y="39110"/>
                    <a:pt x="10991" y="50115"/>
                    <a:pt x="24625" y="50319"/>
                  </a:cubicBezTo>
                  <a:cubicBezTo>
                    <a:pt x="268972" y="50319"/>
                    <a:pt x="467049" y="248492"/>
                    <a:pt x="467049" y="492954"/>
                  </a:cubicBezTo>
                  <a:cubicBezTo>
                    <a:pt x="467049" y="737417"/>
                    <a:pt x="268972" y="935589"/>
                    <a:pt x="24625" y="935589"/>
                  </a:cubicBezTo>
                  <a:cubicBezTo>
                    <a:pt x="10704" y="935794"/>
                    <a:pt x="-417" y="947257"/>
                    <a:pt x="-213" y="961186"/>
                  </a:cubicBezTo>
                  <a:cubicBezTo>
                    <a:pt x="-9" y="974827"/>
                    <a:pt x="10991" y="985832"/>
                    <a:pt x="24625" y="986036"/>
                  </a:cubicBezTo>
                  <a:lnTo>
                    <a:pt x="492258" y="986036"/>
                  </a:lnTo>
                  <a:cubicBezTo>
                    <a:pt x="764448" y="986036"/>
                    <a:pt x="985105" y="765274"/>
                    <a:pt x="985105" y="492954"/>
                  </a:cubicBezTo>
                  <a:cubicBezTo>
                    <a:pt x="985105" y="220635"/>
                    <a:pt x="764448" y="-128"/>
                    <a:pt x="492258" y="-128"/>
                  </a:cubicBezTo>
                  <a:close/>
                  <a:moveTo>
                    <a:pt x="409307" y="929471"/>
                  </a:moveTo>
                  <a:cubicBezTo>
                    <a:pt x="650272" y="803219"/>
                    <a:pt x="743317" y="505440"/>
                    <a:pt x="617130" y="264360"/>
                  </a:cubicBezTo>
                  <a:cubicBezTo>
                    <a:pt x="570619" y="175505"/>
                    <a:pt x="498120" y="102966"/>
                    <a:pt x="409307" y="56438"/>
                  </a:cubicBezTo>
                  <a:cubicBezTo>
                    <a:pt x="650272" y="96687"/>
                    <a:pt x="813003" y="324745"/>
                    <a:pt x="772773" y="565831"/>
                  </a:cubicBezTo>
                  <a:cubicBezTo>
                    <a:pt x="741665" y="752258"/>
                    <a:pt x="595650" y="898347"/>
                    <a:pt x="409307" y="929471"/>
                  </a:cubicBezTo>
                  <a:close/>
                  <a:moveTo>
                    <a:pt x="517467" y="492954"/>
                  </a:moveTo>
                  <a:cubicBezTo>
                    <a:pt x="517323" y="309750"/>
                    <a:pt x="415748" y="141695"/>
                    <a:pt x="253646" y="56477"/>
                  </a:cubicBezTo>
                  <a:cubicBezTo>
                    <a:pt x="494590" y="96853"/>
                    <a:pt x="657200" y="324999"/>
                    <a:pt x="616843" y="566063"/>
                  </a:cubicBezTo>
                  <a:cubicBezTo>
                    <a:pt x="585668" y="752302"/>
                    <a:pt x="439802" y="898237"/>
                    <a:pt x="253646" y="929432"/>
                  </a:cubicBezTo>
                  <a:cubicBezTo>
                    <a:pt x="415748" y="844214"/>
                    <a:pt x="517323" y="676159"/>
                    <a:pt x="517467" y="492954"/>
                  </a:cubicBezTo>
                  <a:close/>
                  <a:moveTo>
                    <a:pt x="565182" y="929471"/>
                  </a:moveTo>
                  <a:cubicBezTo>
                    <a:pt x="806147" y="803230"/>
                    <a:pt x="899198" y="505451"/>
                    <a:pt x="773017" y="264371"/>
                  </a:cubicBezTo>
                  <a:cubicBezTo>
                    <a:pt x="726505" y="175510"/>
                    <a:pt x="654001" y="102971"/>
                    <a:pt x="565182" y="56438"/>
                  </a:cubicBezTo>
                  <a:cubicBezTo>
                    <a:pt x="806147" y="96687"/>
                    <a:pt x="968879" y="324745"/>
                    <a:pt x="928649" y="565831"/>
                  </a:cubicBezTo>
                  <a:cubicBezTo>
                    <a:pt x="897540" y="752258"/>
                    <a:pt x="751526" y="898347"/>
                    <a:pt x="565182" y="929471"/>
                  </a:cubicBezTo>
                  <a:close/>
                </a:path>
              </a:pathLst>
            </a:custGeom>
            <a:solidFill>
              <a:srgbClr val="FFFFFF"/>
            </a:solidFill>
            <a:ln w="5506" cap="flat">
              <a:noFill/>
              <a:prstDash val="solid"/>
              <a:miter/>
            </a:ln>
          </p:spPr>
          <p:txBody>
            <a:bodyPr rtlCol="0" anchor="ctr"/>
            <a:lstStyle/>
            <a:p>
              <a:endParaRPr lang="en-US"/>
            </a:p>
          </p:txBody>
        </p:sp>
      </p:grpSp>
    </p:spTree>
    <p:extLst>
      <p:ext uri="{BB962C8B-B14F-4D97-AF65-F5344CB8AC3E}">
        <p14:creationId xmlns:p14="http://schemas.microsoft.com/office/powerpoint/2010/main" val="22302146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 Aluminium">
    <p:bg>
      <p:bgPr>
        <a:solidFill>
          <a:schemeClr val="tx2"/>
        </a:solidFill>
        <a:effectLst/>
      </p:bgPr>
    </p:bg>
    <p:spTree>
      <p:nvGrpSpPr>
        <p:cNvPr id="1" name=""/>
        <p:cNvGrpSpPr/>
        <p:nvPr/>
      </p:nvGrpSpPr>
      <p:grpSpPr>
        <a:xfrm>
          <a:off x="0" y="0"/>
          <a:ext cx="0" cy="0"/>
          <a:chOff x="0" y="0"/>
          <a:chExt cx="0" cy="0"/>
        </a:xfrm>
      </p:grpSpPr>
      <p:grpSp>
        <p:nvGrpSpPr>
          <p:cNvPr id="6" name="Graphic 2">
            <a:extLst>
              <a:ext uri="{FF2B5EF4-FFF2-40B4-BE49-F238E27FC236}">
                <a16:creationId xmlns:a16="http://schemas.microsoft.com/office/drawing/2014/main" id="{E5231ACE-837E-499B-98D0-4BA58DCCA58A}"/>
              </a:ext>
            </a:extLst>
          </p:cNvPr>
          <p:cNvGrpSpPr/>
          <p:nvPr/>
        </p:nvGrpSpPr>
        <p:grpSpPr>
          <a:xfrm>
            <a:off x="4586775" y="1931307"/>
            <a:ext cx="3007691" cy="2782738"/>
            <a:chOff x="4586775" y="1931307"/>
            <a:chExt cx="3007691" cy="2782738"/>
          </a:xfrm>
        </p:grpSpPr>
        <p:sp>
          <p:nvSpPr>
            <p:cNvPr id="7" name="Freeform: Shape 6">
              <a:extLst>
                <a:ext uri="{FF2B5EF4-FFF2-40B4-BE49-F238E27FC236}">
                  <a16:creationId xmlns:a16="http://schemas.microsoft.com/office/drawing/2014/main" id="{D1D1DEAB-942E-43F4-AE3E-2271F58CFDA2}"/>
                </a:ext>
              </a:extLst>
            </p:cNvPr>
            <p:cNvSpPr/>
            <p:nvPr/>
          </p:nvSpPr>
          <p:spPr>
            <a:xfrm>
              <a:off x="5152743" y="3159610"/>
              <a:ext cx="413260" cy="528103"/>
            </a:xfrm>
            <a:custGeom>
              <a:avLst/>
              <a:gdLst>
                <a:gd name="connsiteX0" fmla="*/ 93740 w 413260"/>
                <a:gd name="connsiteY0" fmla="*/ 297562 h 528103"/>
                <a:gd name="connsiteX1" fmla="*/ 93740 w 413260"/>
                <a:gd name="connsiteY1" fmla="*/ 528001 h 528103"/>
                <a:gd name="connsiteX2" fmla="*/ -149 w 413260"/>
                <a:gd name="connsiteY2" fmla="*/ 528001 h 528103"/>
                <a:gd name="connsiteX3" fmla="*/ -149 w 413260"/>
                <a:gd name="connsiteY3" fmla="*/ -102 h 528103"/>
                <a:gd name="connsiteX4" fmla="*/ 93740 w 413260"/>
                <a:gd name="connsiteY4" fmla="*/ -102 h 528103"/>
                <a:gd name="connsiteX5" fmla="*/ 93740 w 413260"/>
                <a:gd name="connsiteY5" fmla="*/ 214852 h 528103"/>
                <a:gd name="connsiteX6" fmla="*/ 319228 w 413260"/>
                <a:gd name="connsiteY6" fmla="*/ 214852 h 528103"/>
                <a:gd name="connsiteX7" fmla="*/ 319228 w 413260"/>
                <a:gd name="connsiteY7" fmla="*/ -102 h 528103"/>
                <a:gd name="connsiteX8" fmla="*/ 413111 w 413260"/>
                <a:gd name="connsiteY8" fmla="*/ -102 h 528103"/>
                <a:gd name="connsiteX9" fmla="*/ 413111 w 413260"/>
                <a:gd name="connsiteY9" fmla="*/ 528001 h 528103"/>
                <a:gd name="connsiteX10" fmla="*/ 319228 w 413260"/>
                <a:gd name="connsiteY10" fmla="*/ 528001 h 528103"/>
                <a:gd name="connsiteX11" fmla="*/ 319228 w 413260"/>
                <a:gd name="connsiteY11" fmla="*/ 297562 h 52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3260" h="528103">
                  <a:moveTo>
                    <a:pt x="93740" y="297562"/>
                  </a:moveTo>
                  <a:lnTo>
                    <a:pt x="93740" y="528001"/>
                  </a:lnTo>
                  <a:lnTo>
                    <a:pt x="-149" y="528001"/>
                  </a:lnTo>
                  <a:lnTo>
                    <a:pt x="-149" y="-102"/>
                  </a:lnTo>
                  <a:lnTo>
                    <a:pt x="93740" y="-102"/>
                  </a:lnTo>
                  <a:lnTo>
                    <a:pt x="93740" y="214852"/>
                  </a:lnTo>
                  <a:lnTo>
                    <a:pt x="319228" y="214852"/>
                  </a:lnTo>
                  <a:lnTo>
                    <a:pt x="319228" y="-102"/>
                  </a:lnTo>
                  <a:lnTo>
                    <a:pt x="413111" y="-102"/>
                  </a:lnTo>
                  <a:lnTo>
                    <a:pt x="413111" y="528001"/>
                  </a:lnTo>
                  <a:lnTo>
                    <a:pt x="319228" y="528001"/>
                  </a:lnTo>
                  <a:lnTo>
                    <a:pt x="319228" y="297562"/>
                  </a:lnTo>
                  <a:close/>
                </a:path>
              </a:pathLst>
            </a:custGeom>
            <a:solidFill>
              <a:srgbClr val="FFFFFF"/>
            </a:solidFill>
            <a:ln w="5546"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C30EF7F2-66E5-4515-B2C3-B236289234E3}"/>
                </a:ext>
              </a:extLst>
            </p:cNvPr>
            <p:cNvSpPr/>
            <p:nvPr/>
          </p:nvSpPr>
          <p:spPr>
            <a:xfrm>
              <a:off x="5601473" y="3299936"/>
              <a:ext cx="385179" cy="520733"/>
            </a:xfrm>
            <a:custGeom>
              <a:avLst/>
              <a:gdLst>
                <a:gd name="connsiteX0" fmla="*/ 85634 w 385179"/>
                <a:gd name="connsiteY0" fmla="*/ 520631 h 520733"/>
                <a:gd name="connsiteX1" fmla="*/ 146233 w 385179"/>
                <a:gd name="connsiteY1" fmla="*/ 377328 h 520733"/>
                <a:gd name="connsiteX2" fmla="*/ -149 w 385179"/>
                <a:gd name="connsiteY2" fmla="*/ -102 h 520733"/>
                <a:gd name="connsiteX3" fmla="*/ 98921 w 385179"/>
                <a:gd name="connsiteY3" fmla="*/ -102 h 520733"/>
                <a:gd name="connsiteX4" fmla="*/ 193550 w 385179"/>
                <a:gd name="connsiteY4" fmla="*/ 276877 h 520733"/>
                <a:gd name="connsiteX5" fmla="*/ 288183 w 385179"/>
                <a:gd name="connsiteY5" fmla="*/ -102 h 520733"/>
                <a:gd name="connsiteX6" fmla="*/ 385030 w 385179"/>
                <a:gd name="connsiteY6" fmla="*/ -102 h 520733"/>
                <a:gd name="connsiteX7" fmla="*/ 177288 w 385179"/>
                <a:gd name="connsiteY7" fmla="*/ 520620 h 520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179" h="520733">
                  <a:moveTo>
                    <a:pt x="85634" y="520631"/>
                  </a:moveTo>
                  <a:lnTo>
                    <a:pt x="146233" y="377328"/>
                  </a:lnTo>
                  <a:cubicBezTo>
                    <a:pt x="101873" y="259887"/>
                    <a:pt x="47907" y="121766"/>
                    <a:pt x="-149" y="-102"/>
                  </a:cubicBezTo>
                  <a:lnTo>
                    <a:pt x="98921" y="-102"/>
                  </a:lnTo>
                  <a:cubicBezTo>
                    <a:pt x="141802" y="123243"/>
                    <a:pt x="166191" y="200799"/>
                    <a:pt x="193550" y="276877"/>
                  </a:cubicBezTo>
                  <a:cubicBezTo>
                    <a:pt x="217211" y="212613"/>
                    <a:pt x="256372" y="91484"/>
                    <a:pt x="288183" y="-102"/>
                  </a:cubicBezTo>
                  <a:lnTo>
                    <a:pt x="385030" y="-102"/>
                  </a:lnTo>
                  <a:cubicBezTo>
                    <a:pt x="317015" y="171256"/>
                    <a:pt x="249740" y="343352"/>
                    <a:pt x="177288" y="520620"/>
                  </a:cubicBezTo>
                  <a:close/>
                </a:path>
              </a:pathLst>
            </a:custGeom>
            <a:solidFill>
              <a:srgbClr val="FFFFFF"/>
            </a:solidFill>
            <a:ln w="5546"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9F5DB5C6-0E88-4D54-B7F3-B55809D74AB2}"/>
                </a:ext>
              </a:extLst>
            </p:cNvPr>
            <p:cNvSpPr/>
            <p:nvPr/>
          </p:nvSpPr>
          <p:spPr>
            <a:xfrm>
              <a:off x="5976317" y="3159610"/>
              <a:ext cx="397737" cy="536968"/>
            </a:xfrm>
            <a:custGeom>
              <a:avLst/>
              <a:gdLst>
                <a:gd name="connsiteX0" fmla="*/ 312567 w 397737"/>
                <a:gd name="connsiteY0" fmla="*/ 528001 h 536968"/>
                <a:gd name="connsiteX1" fmla="*/ 312567 w 397737"/>
                <a:gd name="connsiteY1" fmla="*/ 473346 h 536968"/>
                <a:gd name="connsiteX2" fmla="*/ 178761 w 397737"/>
                <a:gd name="connsiteY2" fmla="*/ 536866 h 536968"/>
                <a:gd name="connsiteX3" fmla="*/ -149 w 397737"/>
                <a:gd name="connsiteY3" fmla="*/ 333021 h 536968"/>
                <a:gd name="connsiteX4" fmla="*/ 180974 w 397737"/>
                <a:gd name="connsiteY4" fmla="*/ 127687 h 536968"/>
                <a:gd name="connsiteX5" fmla="*/ 308136 w 397737"/>
                <a:gd name="connsiteY5" fmla="*/ 189729 h 536968"/>
                <a:gd name="connsiteX6" fmla="*/ 307397 w 397737"/>
                <a:gd name="connsiteY6" fmla="*/ 112918 h 536968"/>
                <a:gd name="connsiteX7" fmla="*/ 307397 w 397737"/>
                <a:gd name="connsiteY7" fmla="*/ -102 h 536968"/>
                <a:gd name="connsiteX8" fmla="*/ 397589 w 397737"/>
                <a:gd name="connsiteY8" fmla="*/ -102 h 536968"/>
                <a:gd name="connsiteX9" fmla="*/ 397589 w 397737"/>
                <a:gd name="connsiteY9" fmla="*/ 528001 h 536968"/>
                <a:gd name="connsiteX10" fmla="*/ 92261 w 397737"/>
                <a:gd name="connsiteY10" fmla="*/ 334487 h 536968"/>
                <a:gd name="connsiteX11" fmla="*/ 199459 w 397737"/>
                <a:gd name="connsiteY11" fmla="*/ 463743 h 536968"/>
                <a:gd name="connsiteX12" fmla="*/ 311828 w 397737"/>
                <a:gd name="connsiteY12" fmla="*/ 331549 h 536968"/>
                <a:gd name="connsiteX13" fmla="*/ 200199 w 397737"/>
                <a:gd name="connsiteY13" fmla="*/ 202293 h 536968"/>
                <a:gd name="connsiteX14" fmla="*/ 92261 w 397737"/>
                <a:gd name="connsiteY14" fmla="*/ 334487 h 53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7737" h="536968">
                  <a:moveTo>
                    <a:pt x="312567" y="528001"/>
                  </a:moveTo>
                  <a:lnTo>
                    <a:pt x="312567" y="473346"/>
                  </a:lnTo>
                  <a:cubicBezTo>
                    <a:pt x="290391" y="507323"/>
                    <a:pt x="245298" y="536866"/>
                    <a:pt x="178761" y="536866"/>
                  </a:cubicBezTo>
                  <a:cubicBezTo>
                    <a:pt x="73036" y="536866"/>
                    <a:pt x="-149" y="454145"/>
                    <a:pt x="-149" y="333021"/>
                  </a:cubicBezTo>
                  <a:cubicBezTo>
                    <a:pt x="-149" y="215585"/>
                    <a:pt x="70084" y="127687"/>
                    <a:pt x="180974" y="127687"/>
                  </a:cubicBezTo>
                  <a:cubicBezTo>
                    <a:pt x="242334" y="127687"/>
                    <a:pt x="286699" y="157969"/>
                    <a:pt x="308136" y="189729"/>
                  </a:cubicBezTo>
                  <a:cubicBezTo>
                    <a:pt x="307397" y="162402"/>
                    <a:pt x="307397" y="139507"/>
                    <a:pt x="307397" y="112918"/>
                  </a:cubicBezTo>
                  <a:lnTo>
                    <a:pt x="307397" y="-102"/>
                  </a:lnTo>
                  <a:lnTo>
                    <a:pt x="397589" y="-102"/>
                  </a:lnTo>
                  <a:lnTo>
                    <a:pt x="397589" y="528001"/>
                  </a:lnTo>
                  <a:close/>
                  <a:moveTo>
                    <a:pt x="92261" y="334487"/>
                  </a:moveTo>
                  <a:cubicBezTo>
                    <a:pt x="92261" y="408360"/>
                    <a:pt x="132184" y="463743"/>
                    <a:pt x="199459" y="463743"/>
                  </a:cubicBezTo>
                  <a:cubicBezTo>
                    <a:pt x="269692" y="463743"/>
                    <a:pt x="311828" y="407611"/>
                    <a:pt x="311828" y="331549"/>
                  </a:cubicBezTo>
                  <a:cubicBezTo>
                    <a:pt x="311828" y="256948"/>
                    <a:pt x="265256" y="202293"/>
                    <a:pt x="200199" y="202293"/>
                  </a:cubicBezTo>
                  <a:cubicBezTo>
                    <a:pt x="132184" y="202277"/>
                    <a:pt x="92261" y="260625"/>
                    <a:pt x="92261" y="334487"/>
                  </a:cubicBezTo>
                  <a:close/>
                </a:path>
              </a:pathLst>
            </a:custGeom>
            <a:solidFill>
              <a:srgbClr val="FFFFFF"/>
            </a:solidFill>
            <a:ln w="5546"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35B2B5-B63F-4069-AFBB-942A103B3AA6}"/>
                </a:ext>
              </a:extLst>
            </p:cNvPr>
            <p:cNvSpPr/>
            <p:nvPr/>
          </p:nvSpPr>
          <p:spPr>
            <a:xfrm>
              <a:off x="6431723" y="3290341"/>
              <a:ext cx="199608" cy="397350"/>
            </a:xfrm>
            <a:custGeom>
              <a:avLst/>
              <a:gdLst>
                <a:gd name="connsiteX0" fmla="*/ 84867 w 199608"/>
                <a:gd name="connsiteY0" fmla="*/ 8765 h 397350"/>
                <a:gd name="connsiteX1" fmla="*/ 84867 w 199608"/>
                <a:gd name="connsiteY1" fmla="*/ 35353 h 397350"/>
                <a:gd name="connsiteX2" fmla="*/ 84133 w 199608"/>
                <a:gd name="connsiteY2" fmla="*/ 61203 h 397350"/>
                <a:gd name="connsiteX3" fmla="*/ 178022 w 199608"/>
                <a:gd name="connsiteY3" fmla="*/ -100 h 397350"/>
                <a:gd name="connsiteX4" fmla="*/ 199459 w 199608"/>
                <a:gd name="connsiteY4" fmla="*/ 1377 h 397350"/>
                <a:gd name="connsiteX5" fmla="*/ 199459 w 199608"/>
                <a:gd name="connsiteY5" fmla="*/ 87059 h 397350"/>
                <a:gd name="connsiteX6" fmla="*/ 173585 w 199608"/>
                <a:gd name="connsiteY6" fmla="*/ 84104 h 397350"/>
                <a:gd name="connsiteX7" fmla="*/ 90782 w 199608"/>
                <a:gd name="connsiteY7" fmla="*/ 214076 h 397350"/>
                <a:gd name="connsiteX8" fmla="*/ 90782 w 199608"/>
                <a:gd name="connsiteY8" fmla="*/ 397248 h 397350"/>
                <a:gd name="connsiteX9" fmla="*/ 590 w 199608"/>
                <a:gd name="connsiteY9" fmla="*/ 397248 h 397350"/>
                <a:gd name="connsiteX10" fmla="*/ 590 w 199608"/>
                <a:gd name="connsiteY10" fmla="*/ 78933 h 397350"/>
                <a:gd name="connsiteX11" fmla="*/ -149 w 199608"/>
                <a:gd name="connsiteY11" fmla="*/ 8765 h 39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608" h="397350">
                  <a:moveTo>
                    <a:pt x="84867" y="8765"/>
                  </a:moveTo>
                  <a:lnTo>
                    <a:pt x="84867" y="35353"/>
                  </a:lnTo>
                  <a:cubicBezTo>
                    <a:pt x="84867" y="44240"/>
                    <a:pt x="84867" y="53077"/>
                    <a:pt x="84133" y="61203"/>
                  </a:cubicBezTo>
                  <a:cubicBezTo>
                    <a:pt x="97437" y="22062"/>
                    <a:pt x="133663" y="-100"/>
                    <a:pt x="178022" y="-100"/>
                  </a:cubicBezTo>
                  <a:cubicBezTo>
                    <a:pt x="185194" y="-139"/>
                    <a:pt x="192360" y="355"/>
                    <a:pt x="199459" y="1377"/>
                  </a:cubicBezTo>
                  <a:lnTo>
                    <a:pt x="199459" y="87059"/>
                  </a:lnTo>
                  <a:cubicBezTo>
                    <a:pt x="191020" y="84854"/>
                    <a:pt x="182308" y="83860"/>
                    <a:pt x="173585" y="84104"/>
                  </a:cubicBezTo>
                  <a:cubicBezTo>
                    <a:pt x="103352" y="84104"/>
                    <a:pt x="90782" y="134327"/>
                    <a:pt x="90782" y="214076"/>
                  </a:cubicBezTo>
                  <a:lnTo>
                    <a:pt x="90782" y="397248"/>
                  </a:lnTo>
                  <a:lnTo>
                    <a:pt x="590" y="397248"/>
                  </a:lnTo>
                  <a:lnTo>
                    <a:pt x="590" y="78933"/>
                  </a:lnTo>
                  <a:cubicBezTo>
                    <a:pt x="590" y="54560"/>
                    <a:pt x="590" y="32398"/>
                    <a:pt x="-149" y="8765"/>
                  </a:cubicBezTo>
                  <a:close/>
                </a:path>
              </a:pathLst>
            </a:custGeom>
            <a:solidFill>
              <a:srgbClr val="FFFFFF"/>
            </a:solidFill>
            <a:ln w="5546"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7FB0321E-5E10-4EB3-8FC3-E56722A0DEE0}"/>
                </a:ext>
              </a:extLst>
            </p:cNvPr>
            <p:cNvSpPr/>
            <p:nvPr/>
          </p:nvSpPr>
          <p:spPr>
            <a:xfrm>
              <a:off x="6637981" y="3286650"/>
              <a:ext cx="405871" cy="412883"/>
            </a:xfrm>
            <a:custGeom>
              <a:avLst/>
              <a:gdLst>
                <a:gd name="connsiteX0" fmla="*/ 405722 w 405871"/>
                <a:gd name="connsiteY0" fmla="*/ 207448 h 412883"/>
                <a:gd name="connsiteX1" fmla="*/ 200938 w 405871"/>
                <a:gd name="connsiteY1" fmla="*/ 412782 h 412883"/>
                <a:gd name="connsiteX2" fmla="*/ -149 w 405871"/>
                <a:gd name="connsiteY2" fmla="*/ 207448 h 412883"/>
                <a:gd name="connsiteX3" fmla="*/ 202417 w 405871"/>
                <a:gd name="connsiteY3" fmla="*/ -102 h 412883"/>
                <a:gd name="connsiteX4" fmla="*/ 405722 w 405871"/>
                <a:gd name="connsiteY4" fmla="*/ 207448 h 412883"/>
                <a:gd name="connsiteX5" fmla="*/ 92261 w 405871"/>
                <a:gd name="connsiteY5" fmla="*/ 206709 h 412883"/>
                <a:gd name="connsiteX6" fmla="*/ 200938 w 405871"/>
                <a:gd name="connsiteY6" fmla="*/ 337448 h 412883"/>
                <a:gd name="connsiteX7" fmla="*/ 310349 w 405871"/>
                <a:gd name="connsiteY7" fmla="*/ 206709 h 412883"/>
                <a:gd name="connsiteX8" fmla="*/ 200938 w 405871"/>
                <a:gd name="connsiteY8" fmla="*/ 75237 h 412883"/>
                <a:gd name="connsiteX9" fmla="*/ 92261 w 405871"/>
                <a:gd name="connsiteY9" fmla="*/ 206709 h 41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871" h="412883">
                  <a:moveTo>
                    <a:pt x="405722" y="207448"/>
                  </a:moveTo>
                  <a:cubicBezTo>
                    <a:pt x="405722" y="327105"/>
                    <a:pt x="326616" y="412782"/>
                    <a:pt x="200938" y="412782"/>
                  </a:cubicBezTo>
                  <a:cubicBezTo>
                    <a:pt x="75994" y="412782"/>
                    <a:pt x="-149" y="326367"/>
                    <a:pt x="-149" y="207448"/>
                  </a:cubicBezTo>
                  <a:cubicBezTo>
                    <a:pt x="-149" y="85579"/>
                    <a:pt x="80430" y="-102"/>
                    <a:pt x="202417" y="-102"/>
                  </a:cubicBezTo>
                  <a:cubicBezTo>
                    <a:pt x="325138" y="-102"/>
                    <a:pt x="405722" y="85579"/>
                    <a:pt x="405722" y="207448"/>
                  </a:cubicBezTo>
                  <a:close/>
                  <a:moveTo>
                    <a:pt x="92261" y="206709"/>
                  </a:moveTo>
                  <a:cubicBezTo>
                    <a:pt x="92261" y="285742"/>
                    <a:pt x="132923" y="337448"/>
                    <a:pt x="200938" y="337448"/>
                  </a:cubicBezTo>
                  <a:cubicBezTo>
                    <a:pt x="269693" y="337448"/>
                    <a:pt x="310349" y="285742"/>
                    <a:pt x="310349" y="206709"/>
                  </a:cubicBezTo>
                  <a:cubicBezTo>
                    <a:pt x="310349" y="129892"/>
                    <a:pt x="268953" y="75237"/>
                    <a:pt x="200938" y="75237"/>
                  </a:cubicBezTo>
                  <a:cubicBezTo>
                    <a:pt x="133657" y="75237"/>
                    <a:pt x="92261" y="129892"/>
                    <a:pt x="92261" y="206709"/>
                  </a:cubicBezTo>
                  <a:close/>
                </a:path>
              </a:pathLst>
            </a:custGeom>
            <a:solidFill>
              <a:srgbClr val="FFFFFF"/>
            </a:solidFill>
            <a:ln w="5546"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8013A61-5799-436A-B724-857FC637ED5A}"/>
                </a:ext>
              </a:extLst>
            </p:cNvPr>
            <p:cNvSpPr/>
            <p:nvPr/>
          </p:nvSpPr>
          <p:spPr>
            <a:xfrm>
              <a:off x="5602346" y="1931306"/>
              <a:ext cx="991920" cy="991010"/>
            </a:xfrm>
            <a:custGeom>
              <a:avLst/>
              <a:gdLst>
                <a:gd name="connsiteX0" fmla="*/ 495803 w 991920"/>
                <a:gd name="connsiteY0" fmla="*/ -102 h 991010"/>
                <a:gd name="connsiteX1" fmla="*/ 25219 w 991920"/>
                <a:gd name="connsiteY1" fmla="*/ -102 h 991010"/>
                <a:gd name="connsiteX2" fmla="*/ 223 w 991920"/>
                <a:gd name="connsiteY2" fmla="*/ 25620 h 991010"/>
                <a:gd name="connsiteX3" fmla="*/ 25219 w 991920"/>
                <a:gd name="connsiteY3" fmla="*/ 50592 h 991010"/>
                <a:gd name="connsiteX4" fmla="*/ 468867 w 991920"/>
                <a:gd name="connsiteY4" fmla="*/ 496975 h 991010"/>
                <a:gd name="connsiteX5" fmla="*/ 25219 w 991920"/>
                <a:gd name="connsiteY5" fmla="*/ 940219 h 991010"/>
                <a:gd name="connsiteX6" fmla="*/ -149 w 991920"/>
                <a:gd name="connsiteY6" fmla="*/ 965563 h 991010"/>
                <a:gd name="connsiteX7" fmla="*/ 25219 w 991920"/>
                <a:gd name="connsiteY7" fmla="*/ 990908 h 991010"/>
                <a:gd name="connsiteX8" fmla="*/ 495809 w 991920"/>
                <a:gd name="connsiteY8" fmla="*/ 990908 h 991010"/>
                <a:gd name="connsiteX9" fmla="*/ 991772 w 991920"/>
                <a:gd name="connsiteY9" fmla="*/ 495403 h 991010"/>
                <a:gd name="connsiteX10" fmla="*/ 495809 w 991920"/>
                <a:gd name="connsiteY10" fmla="*/ -102 h 991010"/>
                <a:gd name="connsiteX11" fmla="*/ 412333 w 991920"/>
                <a:gd name="connsiteY11" fmla="*/ 934064 h 991010"/>
                <a:gd name="connsiteX12" fmla="*/ 621470 w 991920"/>
                <a:gd name="connsiteY12" fmla="*/ 265685 h 991010"/>
                <a:gd name="connsiteX13" fmla="*/ 412333 w 991920"/>
                <a:gd name="connsiteY13" fmla="*/ 56741 h 991010"/>
                <a:gd name="connsiteX14" fmla="*/ 778098 w 991920"/>
                <a:gd name="connsiteY14" fmla="*/ 568637 h 991010"/>
                <a:gd name="connsiteX15" fmla="*/ 412333 w 991920"/>
                <a:gd name="connsiteY15" fmla="*/ 934064 h 991010"/>
                <a:gd name="connsiteX16" fmla="*/ 521177 w 991920"/>
                <a:gd name="connsiteY16" fmla="*/ 495403 h 991010"/>
                <a:gd name="connsiteX17" fmla="*/ 255688 w 991920"/>
                <a:gd name="connsiteY17" fmla="*/ 56780 h 991010"/>
                <a:gd name="connsiteX18" fmla="*/ 621181 w 991920"/>
                <a:gd name="connsiteY18" fmla="*/ 568870 h 991010"/>
                <a:gd name="connsiteX19" fmla="*/ 255688 w 991920"/>
                <a:gd name="connsiteY19" fmla="*/ 934026 h 991010"/>
                <a:gd name="connsiteX20" fmla="*/ 521177 w 991920"/>
                <a:gd name="connsiteY20" fmla="*/ 495403 h 991010"/>
                <a:gd name="connsiteX21" fmla="*/ 569194 w 991920"/>
                <a:gd name="connsiteY21" fmla="*/ 934064 h 991010"/>
                <a:gd name="connsiteX22" fmla="*/ 778343 w 991920"/>
                <a:gd name="connsiteY22" fmla="*/ 265696 h 991010"/>
                <a:gd name="connsiteX23" fmla="*/ 569194 w 991920"/>
                <a:gd name="connsiteY23" fmla="*/ 56741 h 991010"/>
                <a:gd name="connsiteX24" fmla="*/ 934959 w 991920"/>
                <a:gd name="connsiteY24" fmla="*/ 568637 h 991010"/>
                <a:gd name="connsiteX25" fmla="*/ 569194 w 991920"/>
                <a:gd name="connsiteY25" fmla="*/ 934064 h 991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91920" h="991010">
                  <a:moveTo>
                    <a:pt x="495803" y="-102"/>
                  </a:moveTo>
                  <a:lnTo>
                    <a:pt x="25219" y="-102"/>
                  </a:lnTo>
                  <a:cubicBezTo>
                    <a:pt x="11209" y="103"/>
                    <a:pt x="18" y="11623"/>
                    <a:pt x="223" y="25620"/>
                  </a:cubicBezTo>
                  <a:cubicBezTo>
                    <a:pt x="429" y="39328"/>
                    <a:pt x="11498" y="50387"/>
                    <a:pt x="25219" y="50592"/>
                  </a:cubicBezTo>
                  <a:cubicBezTo>
                    <a:pt x="271110" y="51459"/>
                    <a:pt x="469740" y="251316"/>
                    <a:pt x="468867" y="496975"/>
                  </a:cubicBezTo>
                  <a:cubicBezTo>
                    <a:pt x="468006" y="741417"/>
                    <a:pt x="269882" y="939352"/>
                    <a:pt x="25219" y="940219"/>
                  </a:cubicBezTo>
                  <a:cubicBezTo>
                    <a:pt x="11209" y="940219"/>
                    <a:pt x="-149" y="951566"/>
                    <a:pt x="-149" y="965563"/>
                  </a:cubicBezTo>
                  <a:cubicBezTo>
                    <a:pt x="-149" y="979560"/>
                    <a:pt x="11209" y="990908"/>
                    <a:pt x="25219" y="990908"/>
                  </a:cubicBezTo>
                  <a:lnTo>
                    <a:pt x="495809" y="990908"/>
                  </a:lnTo>
                  <a:cubicBezTo>
                    <a:pt x="769720" y="990908"/>
                    <a:pt x="991772" y="769061"/>
                    <a:pt x="991772" y="495403"/>
                  </a:cubicBezTo>
                  <a:cubicBezTo>
                    <a:pt x="991772" y="221745"/>
                    <a:pt x="769720" y="-102"/>
                    <a:pt x="495809" y="-102"/>
                  </a:cubicBezTo>
                  <a:close/>
                  <a:moveTo>
                    <a:pt x="412333" y="934064"/>
                  </a:moveTo>
                  <a:cubicBezTo>
                    <a:pt x="654822" y="807192"/>
                    <a:pt x="748455" y="507950"/>
                    <a:pt x="621470" y="265685"/>
                  </a:cubicBezTo>
                  <a:cubicBezTo>
                    <a:pt x="574665" y="176393"/>
                    <a:pt x="501707" y="103498"/>
                    <a:pt x="412333" y="56741"/>
                  </a:cubicBezTo>
                  <a:cubicBezTo>
                    <a:pt x="654822" y="97188"/>
                    <a:pt x="818582" y="326367"/>
                    <a:pt x="778098" y="568637"/>
                  </a:cubicBezTo>
                  <a:cubicBezTo>
                    <a:pt x="746792" y="755980"/>
                    <a:pt x="599855" y="902788"/>
                    <a:pt x="412333" y="934064"/>
                  </a:cubicBezTo>
                  <a:close/>
                  <a:moveTo>
                    <a:pt x="521177" y="495403"/>
                  </a:moveTo>
                  <a:cubicBezTo>
                    <a:pt x="521032" y="311298"/>
                    <a:pt x="418815" y="142417"/>
                    <a:pt x="255688" y="56780"/>
                  </a:cubicBezTo>
                  <a:cubicBezTo>
                    <a:pt x="498155" y="97355"/>
                    <a:pt x="661793" y="326622"/>
                    <a:pt x="621181" y="568870"/>
                  </a:cubicBezTo>
                  <a:cubicBezTo>
                    <a:pt x="589809" y="756025"/>
                    <a:pt x="443021" y="902677"/>
                    <a:pt x="255688" y="934026"/>
                  </a:cubicBezTo>
                  <a:cubicBezTo>
                    <a:pt x="418815" y="848388"/>
                    <a:pt x="521032" y="679508"/>
                    <a:pt x="521177" y="495403"/>
                  </a:cubicBezTo>
                  <a:close/>
                  <a:moveTo>
                    <a:pt x="569194" y="934064"/>
                  </a:moveTo>
                  <a:cubicBezTo>
                    <a:pt x="811683" y="807203"/>
                    <a:pt x="905322" y="507961"/>
                    <a:pt x="778343" y="265696"/>
                  </a:cubicBezTo>
                  <a:cubicBezTo>
                    <a:pt x="731537" y="176399"/>
                    <a:pt x="658574" y="103503"/>
                    <a:pt x="569194" y="56741"/>
                  </a:cubicBezTo>
                  <a:cubicBezTo>
                    <a:pt x="811683" y="97188"/>
                    <a:pt x="975444" y="326367"/>
                    <a:pt x="934959" y="568637"/>
                  </a:cubicBezTo>
                  <a:cubicBezTo>
                    <a:pt x="903654" y="755980"/>
                    <a:pt x="756716" y="902788"/>
                    <a:pt x="569194" y="934064"/>
                  </a:cubicBezTo>
                  <a:close/>
                </a:path>
              </a:pathLst>
            </a:custGeom>
            <a:solidFill>
              <a:srgbClr val="FFFFFF"/>
            </a:solidFill>
            <a:ln w="5546"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9292D0BC-D14C-42CB-BFD3-2DDE89DAFE33}"/>
                </a:ext>
              </a:extLst>
            </p:cNvPr>
            <p:cNvSpPr/>
            <p:nvPr/>
          </p:nvSpPr>
          <p:spPr>
            <a:xfrm>
              <a:off x="4586769" y="4317668"/>
              <a:ext cx="388903" cy="388544"/>
            </a:xfrm>
            <a:custGeom>
              <a:avLst/>
              <a:gdLst>
                <a:gd name="connsiteX0" fmla="*/ 388755 w 388903"/>
                <a:gd name="connsiteY0" fmla="*/ 388442 h 388544"/>
                <a:gd name="connsiteX1" fmla="*/ 318616 w 388903"/>
                <a:gd name="connsiteY1" fmla="*/ 388442 h 388544"/>
                <a:gd name="connsiteX2" fmla="*/ 275858 w 388903"/>
                <a:gd name="connsiteY2" fmla="*/ 277038 h 388544"/>
                <a:gd name="connsiteX3" fmla="*/ 106243 w 388903"/>
                <a:gd name="connsiteY3" fmla="*/ 277038 h 388544"/>
                <a:gd name="connsiteX4" fmla="*/ 66565 w 388903"/>
                <a:gd name="connsiteY4" fmla="*/ 388442 h 388544"/>
                <a:gd name="connsiteX5" fmla="*/ -149 w 388903"/>
                <a:gd name="connsiteY5" fmla="*/ 388442 h 388544"/>
                <a:gd name="connsiteX6" fmla="*/ 154110 w 388903"/>
                <a:gd name="connsiteY6" fmla="*/ -102 h 388544"/>
                <a:gd name="connsiteX7" fmla="*/ 224572 w 388903"/>
                <a:gd name="connsiteY7" fmla="*/ -102 h 388544"/>
                <a:gd name="connsiteX8" fmla="*/ 251257 w 388903"/>
                <a:gd name="connsiteY8" fmla="*/ 222689 h 388544"/>
                <a:gd name="connsiteX9" fmla="*/ 212947 w 388903"/>
                <a:gd name="connsiteY9" fmla="*/ 120489 h 388544"/>
                <a:gd name="connsiteX10" fmla="*/ 204735 w 388903"/>
                <a:gd name="connsiteY10" fmla="*/ 98793 h 388544"/>
                <a:gd name="connsiteX11" fmla="*/ 198581 w 388903"/>
                <a:gd name="connsiteY11" fmla="*/ 82391 h 388544"/>
                <a:gd name="connsiteX12" fmla="*/ 193794 w 388903"/>
                <a:gd name="connsiteY12" fmla="*/ 67866 h 388544"/>
                <a:gd name="connsiteX13" fmla="*/ 189686 w 388903"/>
                <a:gd name="connsiteY13" fmla="*/ 51803 h 388544"/>
                <a:gd name="connsiteX14" fmla="*/ 188318 w 388903"/>
                <a:gd name="connsiteY14" fmla="*/ 51803 h 388544"/>
                <a:gd name="connsiteX15" fmla="*/ 184727 w 388903"/>
                <a:gd name="connsiteY15" fmla="*/ 68722 h 388544"/>
                <a:gd name="connsiteX16" fmla="*/ 180624 w 388903"/>
                <a:gd name="connsiteY16" fmla="*/ 83757 h 388544"/>
                <a:gd name="connsiteX17" fmla="*/ 175153 w 388903"/>
                <a:gd name="connsiteY17" fmla="*/ 100504 h 388544"/>
                <a:gd name="connsiteX18" fmla="*/ 167114 w 388903"/>
                <a:gd name="connsiteY18" fmla="*/ 122538 h 388544"/>
                <a:gd name="connsiteX19" fmla="*/ 129487 w 388903"/>
                <a:gd name="connsiteY19" fmla="*/ 222689 h 3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8903" h="388544">
                  <a:moveTo>
                    <a:pt x="388755" y="388442"/>
                  </a:moveTo>
                  <a:lnTo>
                    <a:pt x="318616" y="388442"/>
                  </a:lnTo>
                  <a:lnTo>
                    <a:pt x="275858" y="277038"/>
                  </a:lnTo>
                  <a:lnTo>
                    <a:pt x="106243" y="277038"/>
                  </a:lnTo>
                  <a:lnTo>
                    <a:pt x="66565" y="388442"/>
                  </a:lnTo>
                  <a:lnTo>
                    <a:pt x="-149" y="388442"/>
                  </a:lnTo>
                  <a:lnTo>
                    <a:pt x="154110" y="-102"/>
                  </a:lnTo>
                  <a:lnTo>
                    <a:pt x="224572" y="-102"/>
                  </a:lnTo>
                  <a:close/>
                  <a:moveTo>
                    <a:pt x="251257" y="222689"/>
                  </a:moveTo>
                  <a:lnTo>
                    <a:pt x="212947" y="120489"/>
                  </a:lnTo>
                  <a:cubicBezTo>
                    <a:pt x="209750" y="112068"/>
                    <a:pt x="207015" y="104836"/>
                    <a:pt x="204735" y="98793"/>
                  </a:cubicBezTo>
                  <a:cubicBezTo>
                    <a:pt x="202456" y="92750"/>
                    <a:pt x="200404" y="87284"/>
                    <a:pt x="198581" y="82391"/>
                  </a:cubicBezTo>
                  <a:cubicBezTo>
                    <a:pt x="196752" y="77492"/>
                    <a:pt x="195156" y="72649"/>
                    <a:pt x="193794" y="67866"/>
                  </a:cubicBezTo>
                  <a:cubicBezTo>
                    <a:pt x="192432" y="63084"/>
                    <a:pt x="191064" y="57730"/>
                    <a:pt x="189686" y="51803"/>
                  </a:cubicBezTo>
                  <a:lnTo>
                    <a:pt x="188318" y="51803"/>
                  </a:lnTo>
                  <a:cubicBezTo>
                    <a:pt x="187178" y="58185"/>
                    <a:pt x="185983" y="63823"/>
                    <a:pt x="184727" y="68722"/>
                  </a:cubicBezTo>
                  <a:cubicBezTo>
                    <a:pt x="183470" y="73621"/>
                    <a:pt x="182103" y="78631"/>
                    <a:pt x="180624" y="83757"/>
                  </a:cubicBezTo>
                  <a:cubicBezTo>
                    <a:pt x="179139" y="88884"/>
                    <a:pt x="177316" y="94466"/>
                    <a:pt x="175153" y="100504"/>
                  </a:cubicBezTo>
                  <a:cubicBezTo>
                    <a:pt x="172990" y="106542"/>
                    <a:pt x="170311" y="113884"/>
                    <a:pt x="167114" y="122538"/>
                  </a:cubicBezTo>
                  <a:lnTo>
                    <a:pt x="129487" y="222689"/>
                  </a:lnTo>
                  <a:close/>
                </a:path>
              </a:pathLst>
            </a:custGeom>
            <a:solidFill>
              <a:srgbClr val="FFFFFF"/>
            </a:solidFill>
            <a:ln w="5546"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189E2B14-22E1-42B3-AFC4-9C3A9414FA28}"/>
                </a:ext>
              </a:extLst>
            </p:cNvPr>
            <p:cNvSpPr/>
            <p:nvPr/>
          </p:nvSpPr>
          <p:spPr>
            <a:xfrm>
              <a:off x="5010987" y="4317668"/>
              <a:ext cx="257582" cy="388544"/>
            </a:xfrm>
            <a:custGeom>
              <a:avLst/>
              <a:gdLst>
                <a:gd name="connsiteX0" fmla="*/ 257434 w 257582"/>
                <a:gd name="connsiteY0" fmla="*/ 388442 h 388544"/>
                <a:gd name="connsiteX1" fmla="*/ -149 w 257582"/>
                <a:gd name="connsiteY1" fmla="*/ 388442 h 388544"/>
                <a:gd name="connsiteX2" fmla="*/ -149 w 257582"/>
                <a:gd name="connsiteY2" fmla="*/ -102 h 388544"/>
                <a:gd name="connsiteX3" fmla="*/ 63468 w 257582"/>
                <a:gd name="connsiteY3" fmla="*/ -102 h 388544"/>
                <a:gd name="connsiteX4" fmla="*/ 63468 w 257582"/>
                <a:gd name="connsiteY4" fmla="*/ 333776 h 388544"/>
                <a:gd name="connsiteX5" fmla="*/ 257434 w 257582"/>
                <a:gd name="connsiteY5" fmla="*/ 333776 h 3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582" h="388544">
                  <a:moveTo>
                    <a:pt x="257434" y="388442"/>
                  </a:moveTo>
                  <a:lnTo>
                    <a:pt x="-149" y="388442"/>
                  </a:lnTo>
                  <a:lnTo>
                    <a:pt x="-149" y="-102"/>
                  </a:lnTo>
                  <a:lnTo>
                    <a:pt x="63468" y="-102"/>
                  </a:lnTo>
                  <a:lnTo>
                    <a:pt x="63468" y="333776"/>
                  </a:lnTo>
                  <a:lnTo>
                    <a:pt x="257434" y="333776"/>
                  </a:lnTo>
                  <a:close/>
                </a:path>
              </a:pathLst>
            </a:custGeom>
            <a:solidFill>
              <a:srgbClr val="FFFFFF"/>
            </a:solidFill>
            <a:ln w="5546"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0242B18A-1BC8-4CA3-BD8A-61FE1ED326E1}"/>
                </a:ext>
              </a:extLst>
            </p:cNvPr>
            <p:cNvSpPr/>
            <p:nvPr/>
          </p:nvSpPr>
          <p:spPr>
            <a:xfrm>
              <a:off x="5291108" y="4317668"/>
              <a:ext cx="327326" cy="394763"/>
            </a:xfrm>
            <a:custGeom>
              <a:avLst/>
              <a:gdLst>
                <a:gd name="connsiteX0" fmla="*/ 327178 w 327326"/>
                <a:gd name="connsiteY0" fmla="*/ 224755 h 394763"/>
                <a:gd name="connsiteX1" fmla="*/ 325638 w 327326"/>
                <a:gd name="connsiteY1" fmla="*/ 262525 h 394763"/>
                <a:gd name="connsiteX2" fmla="*/ 318455 w 327326"/>
                <a:gd name="connsiteY2" fmla="*/ 301139 h 394763"/>
                <a:gd name="connsiteX3" fmla="*/ 302210 w 327326"/>
                <a:gd name="connsiteY3" fmla="*/ 337020 h 394763"/>
                <a:gd name="connsiteX4" fmla="*/ 273478 w 327326"/>
                <a:gd name="connsiteY4" fmla="*/ 366747 h 394763"/>
                <a:gd name="connsiteX5" fmla="*/ 228674 w 327326"/>
                <a:gd name="connsiteY5" fmla="*/ 387076 h 394763"/>
                <a:gd name="connsiteX6" fmla="*/ 164029 w 327326"/>
                <a:gd name="connsiteY6" fmla="*/ 394596 h 394763"/>
                <a:gd name="connsiteX7" fmla="*/ 93567 w 327326"/>
                <a:gd name="connsiteY7" fmla="*/ 386054 h 394763"/>
                <a:gd name="connsiteX8" fmla="*/ 46868 w 327326"/>
                <a:gd name="connsiteY8" fmla="*/ 363498 h 394763"/>
                <a:gd name="connsiteX9" fmla="*/ 19009 w 327326"/>
                <a:gd name="connsiteY9" fmla="*/ 331554 h 394763"/>
                <a:gd name="connsiteX10" fmla="*/ 5155 w 327326"/>
                <a:gd name="connsiteY10" fmla="*/ 294651 h 394763"/>
                <a:gd name="connsiteX11" fmla="*/ 368 w 327326"/>
                <a:gd name="connsiteY11" fmla="*/ 257570 h 394763"/>
                <a:gd name="connsiteX12" fmla="*/ -149 w 327326"/>
                <a:gd name="connsiteY12" fmla="*/ 224766 h 394763"/>
                <a:gd name="connsiteX13" fmla="*/ -149 w 327326"/>
                <a:gd name="connsiteY13" fmla="*/ -102 h 394763"/>
                <a:gd name="connsiteX14" fmla="*/ 63129 w 327326"/>
                <a:gd name="connsiteY14" fmla="*/ -102 h 394763"/>
                <a:gd name="connsiteX15" fmla="*/ 63129 w 327326"/>
                <a:gd name="connsiteY15" fmla="*/ 224072 h 394763"/>
                <a:gd name="connsiteX16" fmla="*/ 63985 w 327326"/>
                <a:gd name="connsiteY16" fmla="*/ 253116 h 394763"/>
                <a:gd name="connsiteX17" fmla="*/ 68088 w 327326"/>
                <a:gd name="connsiteY17" fmla="*/ 280287 h 394763"/>
                <a:gd name="connsiteX18" fmla="*/ 77667 w 327326"/>
                <a:gd name="connsiteY18" fmla="*/ 304205 h 394763"/>
                <a:gd name="connsiteX19" fmla="*/ 94768 w 327326"/>
                <a:gd name="connsiteY19" fmla="*/ 323345 h 394763"/>
                <a:gd name="connsiteX20" fmla="*/ 121276 w 327326"/>
                <a:gd name="connsiteY20" fmla="*/ 335814 h 394763"/>
                <a:gd name="connsiteX21" fmla="*/ 159587 w 327326"/>
                <a:gd name="connsiteY21" fmla="*/ 340258 h 394763"/>
                <a:gd name="connsiteX22" fmla="*/ 215510 w 327326"/>
                <a:gd name="connsiteY22" fmla="*/ 331888 h 394763"/>
                <a:gd name="connsiteX23" fmla="*/ 246804 w 327326"/>
                <a:gd name="connsiteY23" fmla="*/ 308137 h 394763"/>
                <a:gd name="connsiteX24" fmla="*/ 260314 w 327326"/>
                <a:gd name="connsiteY24" fmla="*/ 271401 h 394763"/>
                <a:gd name="connsiteX25" fmla="*/ 263221 w 327326"/>
                <a:gd name="connsiteY25" fmla="*/ 224072 h 394763"/>
                <a:gd name="connsiteX26" fmla="*/ 263221 w 327326"/>
                <a:gd name="connsiteY26" fmla="*/ -102 h 394763"/>
                <a:gd name="connsiteX27" fmla="*/ 327156 w 327326"/>
                <a:gd name="connsiteY27" fmla="*/ -102 h 39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7326" h="394763">
                  <a:moveTo>
                    <a:pt x="327178" y="224755"/>
                  </a:moveTo>
                  <a:cubicBezTo>
                    <a:pt x="327178" y="236836"/>
                    <a:pt x="326666" y="249428"/>
                    <a:pt x="325638" y="262525"/>
                  </a:cubicBezTo>
                  <a:cubicBezTo>
                    <a:pt x="324615" y="275611"/>
                    <a:pt x="322208" y="288558"/>
                    <a:pt x="318455" y="301139"/>
                  </a:cubicBezTo>
                  <a:cubicBezTo>
                    <a:pt x="314697" y="313780"/>
                    <a:pt x="309232" y="325850"/>
                    <a:pt x="302210" y="337020"/>
                  </a:cubicBezTo>
                  <a:cubicBezTo>
                    <a:pt x="294710" y="348740"/>
                    <a:pt x="284942" y="358849"/>
                    <a:pt x="273478" y="366747"/>
                  </a:cubicBezTo>
                  <a:cubicBezTo>
                    <a:pt x="259808" y="376023"/>
                    <a:pt x="244658" y="382893"/>
                    <a:pt x="228674" y="387076"/>
                  </a:cubicBezTo>
                  <a:cubicBezTo>
                    <a:pt x="207565" y="392497"/>
                    <a:pt x="185816" y="395024"/>
                    <a:pt x="164029" y="394596"/>
                  </a:cubicBezTo>
                  <a:cubicBezTo>
                    <a:pt x="140251" y="395141"/>
                    <a:pt x="116523" y="392264"/>
                    <a:pt x="93567" y="386054"/>
                  </a:cubicBezTo>
                  <a:cubicBezTo>
                    <a:pt x="76767" y="381411"/>
                    <a:pt x="60944" y="373768"/>
                    <a:pt x="46868" y="363498"/>
                  </a:cubicBezTo>
                  <a:cubicBezTo>
                    <a:pt x="35382" y="354983"/>
                    <a:pt x="25881" y="344085"/>
                    <a:pt x="19009" y="331554"/>
                  </a:cubicBezTo>
                  <a:cubicBezTo>
                    <a:pt x="12749" y="319935"/>
                    <a:pt x="8084" y="307521"/>
                    <a:pt x="5155" y="294651"/>
                  </a:cubicBezTo>
                  <a:cubicBezTo>
                    <a:pt x="2364" y="282476"/>
                    <a:pt x="757" y="270056"/>
                    <a:pt x="368" y="257570"/>
                  </a:cubicBezTo>
                  <a:cubicBezTo>
                    <a:pt x="23" y="245500"/>
                    <a:pt x="-149" y="234564"/>
                    <a:pt x="-149" y="224766"/>
                  </a:cubicBezTo>
                  <a:lnTo>
                    <a:pt x="-149" y="-102"/>
                  </a:lnTo>
                  <a:lnTo>
                    <a:pt x="63129" y="-102"/>
                  </a:lnTo>
                  <a:lnTo>
                    <a:pt x="63129" y="224072"/>
                  </a:lnTo>
                  <a:cubicBezTo>
                    <a:pt x="63129" y="233870"/>
                    <a:pt x="63413" y="243551"/>
                    <a:pt x="63985" y="253116"/>
                  </a:cubicBezTo>
                  <a:cubicBezTo>
                    <a:pt x="64491" y="262280"/>
                    <a:pt x="65864" y="271379"/>
                    <a:pt x="68088" y="280287"/>
                  </a:cubicBezTo>
                  <a:cubicBezTo>
                    <a:pt x="70184" y="288658"/>
                    <a:pt x="73403" y="296701"/>
                    <a:pt x="77667" y="304205"/>
                  </a:cubicBezTo>
                  <a:cubicBezTo>
                    <a:pt x="81970" y="311709"/>
                    <a:pt x="87791" y="318230"/>
                    <a:pt x="94768" y="323345"/>
                  </a:cubicBezTo>
                  <a:cubicBezTo>
                    <a:pt x="102763" y="329088"/>
                    <a:pt x="111753" y="333315"/>
                    <a:pt x="121276" y="335814"/>
                  </a:cubicBezTo>
                  <a:cubicBezTo>
                    <a:pt x="133785" y="339025"/>
                    <a:pt x="146672" y="340519"/>
                    <a:pt x="159587" y="340258"/>
                  </a:cubicBezTo>
                  <a:cubicBezTo>
                    <a:pt x="178589" y="340980"/>
                    <a:pt x="197552" y="338136"/>
                    <a:pt x="215510" y="331888"/>
                  </a:cubicBezTo>
                  <a:cubicBezTo>
                    <a:pt x="228068" y="327250"/>
                    <a:pt x="238965" y="318985"/>
                    <a:pt x="246804" y="308137"/>
                  </a:cubicBezTo>
                  <a:cubicBezTo>
                    <a:pt x="254154" y="297134"/>
                    <a:pt x="258779" y="284542"/>
                    <a:pt x="260314" y="271401"/>
                  </a:cubicBezTo>
                  <a:cubicBezTo>
                    <a:pt x="262343" y="255709"/>
                    <a:pt x="263316" y="239896"/>
                    <a:pt x="263221" y="224072"/>
                  </a:cubicBezTo>
                  <a:lnTo>
                    <a:pt x="263221" y="-102"/>
                  </a:lnTo>
                  <a:lnTo>
                    <a:pt x="327156" y="-102"/>
                  </a:lnTo>
                  <a:close/>
                </a:path>
              </a:pathLst>
            </a:custGeom>
            <a:solidFill>
              <a:srgbClr val="FFFFFF"/>
            </a:solidFill>
            <a:ln w="5546"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6B59EA68-9D5A-487A-B7A4-E040023A475A}"/>
                </a:ext>
              </a:extLst>
            </p:cNvPr>
            <p:cNvSpPr/>
            <p:nvPr/>
          </p:nvSpPr>
          <p:spPr>
            <a:xfrm>
              <a:off x="5674908" y="4317668"/>
              <a:ext cx="401852" cy="388544"/>
            </a:xfrm>
            <a:custGeom>
              <a:avLst/>
              <a:gdLst>
                <a:gd name="connsiteX0" fmla="*/ 401703 w 401852"/>
                <a:gd name="connsiteY0" fmla="*/ 388442 h 388544"/>
                <a:gd name="connsiteX1" fmla="*/ 342188 w 401852"/>
                <a:gd name="connsiteY1" fmla="*/ 388442 h 388544"/>
                <a:gd name="connsiteX2" fmla="*/ 342188 w 401852"/>
                <a:gd name="connsiteY2" fmla="*/ 78509 h 388544"/>
                <a:gd name="connsiteX3" fmla="*/ 340154 w 401852"/>
                <a:gd name="connsiteY3" fmla="*/ 78509 h 388544"/>
                <a:gd name="connsiteX4" fmla="*/ 223860 w 401852"/>
                <a:gd name="connsiteY4" fmla="*/ 388442 h 388544"/>
                <a:gd name="connsiteX5" fmla="*/ 176315 w 401852"/>
                <a:gd name="connsiteY5" fmla="*/ 388442 h 388544"/>
                <a:gd name="connsiteX6" fmla="*/ 60705 w 401852"/>
                <a:gd name="connsiteY6" fmla="*/ 72688 h 388544"/>
                <a:gd name="connsiteX7" fmla="*/ 59338 w 401852"/>
                <a:gd name="connsiteY7" fmla="*/ 72688 h 388544"/>
                <a:gd name="connsiteX8" fmla="*/ 59338 w 401852"/>
                <a:gd name="connsiteY8" fmla="*/ 388442 h 388544"/>
                <a:gd name="connsiteX9" fmla="*/ -149 w 401852"/>
                <a:gd name="connsiteY9" fmla="*/ 388442 h 388544"/>
                <a:gd name="connsiteX10" fmla="*/ -149 w 401852"/>
                <a:gd name="connsiteY10" fmla="*/ -102 h 388544"/>
                <a:gd name="connsiteX11" fmla="*/ 89420 w 401852"/>
                <a:gd name="connsiteY11" fmla="*/ -102 h 388544"/>
                <a:gd name="connsiteX12" fmla="*/ 183137 w 401852"/>
                <a:gd name="connsiteY12" fmla="*/ 254843 h 388544"/>
                <a:gd name="connsiteX13" fmla="*/ 194595 w 401852"/>
                <a:gd name="connsiteY13" fmla="*/ 289358 h 388544"/>
                <a:gd name="connsiteX14" fmla="*/ 201950 w 401852"/>
                <a:gd name="connsiteY14" fmla="*/ 317035 h 388544"/>
                <a:gd name="connsiteX15" fmla="*/ 202634 w 401852"/>
                <a:gd name="connsiteY15" fmla="*/ 317035 h 388544"/>
                <a:gd name="connsiteX16" fmla="*/ 211529 w 401852"/>
                <a:gd name="connsiteY16" fmla="*/ 288847 h 388544"/>
                <a:gd name="connsiteX17" fmla="*/ 224527 w 401852"/>
                <a:gd name="connsiteY17" fmla="*/ 250744 h 388544"/>
                <a:gd name="connsiteX18" fmla="*/ 320640 w 401852"/>
                <a:gd name="connsiteY18" fmla="*/ -86 h 388544"/>
                <a:gd name="connsiteX19" fmla="*/ 401703 w 401852"/>
                <a:gd name="connsiteY19" fmla="*/ -86 h 3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1852" h="388544">
                  <a:moveTo>
                    <a:pt x="401703" y="388442"/>
                  </a:moveTo>
                  <a:lnTo>
                    <a:pt x="342188" y="388442"/>
                  </a:lnTo>
                  <a:lnTo>
                    <a:pt x="342188" y="78509"/>
                  </a:lnTo>
                  <a:lnTo>
                    <a:pt x="340154" y="78509"/>
                  </a:lnTo>
                  <a:lnTo>
                    <a:pt x="223860" y="388442"/>
                  </a:lnTo>
                  <a:lnTo>
                    <a:pt x="176315" y="388442"/>
                  </a:lnTo>
                  <a:lnTo>
                    <a:pt x="60705" y="72688"/>
                  </a:lnTo>
                  <a:lnTo>
                    <a:pt x="59338" y="72688"/>
                  </a:lnTo>
                  <a:lnTo>
                    <a:pt x="59338" y="388442"/>
                  </a:lnTo>
                  <a:lnTo>
                    <a:pt x="-149" y="388442"/>
                  </a:lnTo>
                  <a:lnTo>
                    <a:pt x="-149" y="-102"/>
                  </a:lnTo>
                  <a:lnTo>
                    <a:pt x="89420" y="-102"/>
                  </a:lnTo>
                  <a:lnTo>
                    <a:pt x="183137" y="254843"/>
                  </a:lnTo>
                  <a:cubicBezTo>
                    <a:pt x="187701" y="266690"/>
                    <a:pt x="191520" y="278199"/>
                    <a:pt x="194595" y="289358"/>
                  </a:cubicBezTo>
                  <a:cubicBezTo>
                    <a:pt x="197669" y="300517"/>
                    <a:pt x="200121" y="309742"/>
                    <a:pt x="201950" y="317035"/>
                  </a:cubicBezTo>
                  <a:lnTo>
                    <a:pt x="202634" y="317035"/>
                  </a:lnTo>
                  <a:cubicBezTo>
                    <a:pt x="205141" y="309998"/>
                    <a:pt x="208104" y="300605"/>
                    <a:pt x="211529" y="288847"/>
                  </a:cubicBezTo>
                  <a:cubicBezTo>
                    <a:pt x="214954" y="277088"/>
                    <a:pt x="219285" y="264391"/>
                    <a:pt x="224527" y="250744"/>
                  </a:cubicBezTo>
                  <a:lnTo>
                    <a:pt x="320640" y="-86"/>
                  </a:lnTo>
                  <a:lnTo>
                    <a:pt x="401703" y="-86"/>
                  </a:lnTo>
                  <a:close/>
                </a:path>
              </a:pathLst>
            </a:custGeom>
            <a:solidFill>
              <a:srgbClr val="FFFFFF"/>
            </a:solidFill>
            <a:ln w="5546"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339DE95-F89B-4651-9702-1E9A89B8BE5C}"/>
                </a:ext>
              </a:extLst>
            </p:cNvPr>
            <p:cNvSpPr/>
            <p:nvPr/>
          </p:nvSpPr>
          <p:spPr>
            <a:xfrm>
              <a:off x="6141823" y="4317668"/>
              <a:ext cx="63622" cy="388544"/>
            </a:xfrm>
            <a:custGeom>
              <a:avLst/>
              <a:gdLst>
                <a:gd name="connsiteX0" fmla="*/ 63474 w 63622"/>
                <a:gd name="connsiteY0" fmla="*/ 388442 h 388544"/>
                <a:gd name="connsiteX1" fmla="*/ -149 w 63622"/>
                <a:gd name="connsiteY1" fmla="*/ 388442 h 388544"/>
                <a:gd name="connsiteX2" fmla="*/ -149 w 63622"/>
                <a:gd name="connsiteY2" fmla="*/ -102 h 388544"/>
                <a:gd name="connsiteX3" fmla="*/ 63474 w 63622"/>
                <a:gd name="connsiteY3" fmla="*/ -102 h 388544"/>
              </a:gdLst>
              <a:ahLst/>
              <a:cxnLst>
                <a:cxn ang="0">
                  <a:pos x="connsiteX0" y="connsiteY0"/>
                </a:cxn>
                <a:cxn ang="0">
                  <a:pos x="connsiteX1" y="connsiteY1"/>
                </a:cxn>
                <a:cxn ang="0">
                  <a:pos x="connsiteX2" y="connsiteY2"/>
                </a:cxn>
                <a:cxn ang="0">
                  <a:pos x="connsiteX3" y="connsiteY3"/>
                </a:cxn>
              </a:cxnLst>
              <a:rect l="l" t="t" r="r" b="b"/>
              <a:pathLst>
                <a:path w="63622" h="388544">
                  <a:moveTo>
                    <a:pt x="63474" y="388442"/>
                  </a:moveTo>
                  <a:lnTo>
                    <a:pt x="-149" y="388442"/>
                  </a:lnTo>
                  <a:lnTo>
                    <a:pt x="-149" y="-102"/>
                  </a:lnTo>
                  <a:lnTo>
                    <a:pt x="63474" y="-102"/>
                  </a:lnTo>
                  <a:close/>
                </a:path>
              </a:pathLst>
            </a:custGeom>
            <a:solidFill>
              <a:srgbClr val="FFFFFF"/>
            </a:solidFill>
            <a:ln w="554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48A98899-2A4E-4794-99EC-C667E1AC5A55}"/>
                </a:ext>
              </a:extLst>
            </p:cNvPr>
            <p:cNvSpPr/>
            <p:nvPr/>
          </p:nvSpPr>
          <p:spPr>
            <a:xfrm>
              <a:off x="6276068" y="4317668"/>
              <a:ext cx="326987" cy="388544"/>
            </a:xfrm>
            <a:custGeom>
              <a:avLst/>
              <a:gdLst>
                <a:gd name="connsiteX0" fmla="*/ 326839 w 326987"/>
                <a:gd name="connsiteY0" fmla="*/ 388442 h 388544"/>
                <a:gd name="connsiteX1" fmla="*/ 261854 w 326987"/>
                <a:gd name="connsiteY1" fmla="*/ 388442 h 388544"/>
                <a:gd name="connsiteX2" fmla="*/ 61445 w 326987"/>
                <a:gd name="connsiteY2" fmla="*/ 95238 h 388544"/>
                <a:gd name="connsiteX3" fmla="*/ 60077 w 326987"/>
                <a:gd name="connsiteY3" fmla="*/ 95238 h 388544"/>
                <a:gd name="connsiteX4" fmla="*/ 60077 w 326987"/>
                <a:gd name="connsiteY4" fmla="*/ 388442 h 388544"/>
                <a:gd name="connsiteX5" fmla="*/ -149 w 326987"/>
                <a:gd name="connsiteY5" fmla="*/ 388442 h 388544"/>
                <a:gd name="connsiteX6" fmla="*/ -149 w 326987"/>
                <a:gd name="connsiteY6" fmla="*/ -102 h 388544"/>
                <a:gd name="connsiteX7" fmla="*/ 64152 w 326987"/>
                <a:gd name="connsiteY7" fmla="*/ -102 h 388544"/>
                <a:gd name="connsiteX8" fmla="*/ 264589 w 326987"/>
                <a:gd name="connsiteY8" fmla="*/ 293096 h 388544"/>
                <a:gd name="connsiteX9" fmla="*/ 265957 w 326987"/>
                <a:gd name="connsiteY9" fmla="*/ 293096 h 388544"/>
                <a:gd name="connsiteX10" fmla="*/ 265957 w 326987"/>
                <a:gd name="connsiteY10" fmla="*/ -102 h 388544"/>
                <a:gd name="connsiteX11" fmla="*/ 326839 w 326987"/>
                <a:gd name="connsiteY11" fmla="*/ -102 h 3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987" h="388544">
                  <a:moveTo>
                    <a:pt x="326839" y="388442"/>
                  </a:moveTo>
                  <a:lnTo>
                    <a:pt x="261854" y="388442"/>
                  </a:lnTo>
                  <a:lnTo>
                    <a:pt x="61445" y="95238"/>
                  </a:lnTo>
                  <a:lnTo>
                    <a:pt x="60077" y="95238"/>
                  </a:lnTo>
                  <a:lnTo>
                    <a:pt x="60077" y="388442"/>
                  </a:lnTo>
                  <a:lnTo>
                    <a:pt x="-149" y="388442"/>
                  </a:lnTo>
                  <a:lnTo>
                    <a:pt x="-149" y="-102"/>
                  </a:lnTo>
                  <a:lnTo>
                    <a:pt x="64152" y="-102"/>
                  </a:lnTo>
                  <a:lnTo>
                    <a:pt x="264589" y="293096"/>
                  </a:lnTo>
                  <a:lnTo>
                    <a:pt x="265957" y="293096"/>
                  </a:lnTo>
                  <a:lnTo>
                    <a:pt x="265957" y="-102"/>
                  </a:lnTo>
                  <a:lnTo>
                    <a:pt x="326839" y="-102"/>
                  </a:lnTo>
                  <a:close/>
                </a:path>
              </a:pathLst>
            </a:custGeom>
            <a:solidFill>
              <a:srgbClr val="FFFFFF"/>
            </a:solidFill>
            <a:ln w="5546"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DB260592-16BE-4B1A-B86C-236F9B0ADFB8}"/>
                </a:ext>
              </a:extLst>
            </p:cNvPr>
            <p:cNvSpPr/>
            <p:nvPr/>
          </p:nvSpPr>
          <p:spPr>
            <a:xfrm>
              <a:off x="6668119" y="4317668"/>
              <a:ext cx="63622" cy="388544"/>
            </a:xfrm>
            <a:custGeom>
              <a:avLst/>
              <a:gdLst>
                <a:gd name="connsiteX0" fmla="*/ 63474 w 63622"/>
                <a:gd name="connsiteY0" fmla="*/ 388442 h 388544"/>
                <a:gd name="connsiteX1" fmla="*/ -149 w 63622"/>
                <a:gd name="connsiteY1" fmla="*/ 388442 h 388544"/>
                <a:gd name="connsiteX2" fmla="*/ -149 w 63622"/>
                <a:gd name="connsiteY2" fmla="*/ -102 h 388544"/>
                <a:gd name="connsiteX3" fmla="*/ 63474 w 63622"/>
                <a:gd name="connsiteY3" fmla="*/ -102 h 388544"/>
              </a:gdLst>
              <a:ahLst/>
              <a:cxnLst>
                <a:cxn ang="0">
                  <a:pos x="connsiteX0" y="connsiteY0"/>
                </a:cxn>
                <a:cxn ang="0">
                  <a:pos x="connsiteX1" y="connsiteY1"/>
                </a:cxn>
                <a:cxn ang="0">
                  <a:pos x="connsiteX2" y="connsiteY2"/>
                </a:cxn>
                <a:cxn ang="0">
                  <a:pos x="connsiteX3" y="connsiteY3"/>
                </a:cxn>
              </a:cxnLst>
              <a:rect l="l" t="t" r="r" b="b"/>
              <a:pathLst>
                <a:path w="63622" h="388544">
                  <a:moveTo>
                    <a:pt x="63474" y="388442"/>
                  </a:moveTo>
                  <a:lnTo>
                    <a:pt x="-149" y="388442"/>
                  </a:lnTo>
                  <a:lnTo>
                    <a:pt x="-149" y="-102"/>
                  </a:lnTo>
                  <a:lnTo>
                    <a:pt x="63474" y="-102"/>
                  </a:lnTo>
                  <a:close/>
                </a:path>
              </a:pathLst>
            </a:custGeom>
            <a:solidFill>
              <a:srgbClr val="FFFFFF"/>
            </a:solidFill>
            <a:ln w="5546"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E4DB5E03-B2AD-4A4B-9967-1C939F2D1A80}"/>
                </a:ext>
              </a:extLst>
            </p:cNvPr>
            <p:cNvSpPr/>
            <p:nvPr/>
          </p:nvSpPr>
          <p:spPr>
            <a:xfrm>
              <a:off x="6799957" y="4317668"/>
              <a:ext cx="327343" cy="394763"/>
            </a:xfrm>
            <a:custGeom>
              <a:avLst/>
              <a:gdLst>
                <a:gd name="connsiteX0" fmla="*/ 327195 w 327343"/>
                <a:gd name="connsiteY0" fmla="*/ 224755 h 394763"/>
                <a:gd name="connsiteX1" fmla="*/ 325655 w 327343"/>
                <a:gd name="connsiteY1" fmla="*/ 262525 h 394763"/>
                <a:gd name="connsiteX2" fmla="*/ 318477 w 327343"/>
                <a:gd name="connsiteY2" fmla="*/ 301139 h 394763"/>
                <a:gd name="connsiteX3" fmla="*/ 302227 w 327343"/>
                <a:gd name="connsiteY3" fmla="*/ 337020 h 394763"/>
                <a:gd name="connsiteX4" fmla="*/ 273495 w 327343"/>
                <a:gd name="connsiteY4" fmla="*/ 366747 h 394763"/>
                <a:gd name="connsiteX5" fmla="*/ 228686 w 327343"/>
                <a:gd name="connsiteY5" fmla="*/ 387076 h 394763"/>
                <a:gd name="connsiteX6" fmla="*/ 164040 w 327343"/>
                <a:gd name="connsiteY6" fmla="*/ 394596 h 394763"/>
                <a:gd name="connsiteX7" fmla="*/ 93584 w 327343"/>
                <a:gd name="connsiteY7" fmla="*/ 386054 h 394763"/>
                <a:gd name="connsiteX8" fmla="*/ 46885 w 327343"/>
                <a:gd name="connsiteY8" fmla="*/ 363498 h 394763"/>
                <a:gd name="connsiteX9" fmla="*/ 19009 w 327343"/>
                <a:gd name="connsiteY9" fmla="*/ 331554 h 394763"/>
                <a:gd name="connsiteX10" fmla="*/ 5155 w 327343"/>
                <a:gd name="connsiteY10" fmla="*/ 294651 h 394763"/>
                <a:gd name="connsiteX11" fmla="*/ 368 w 327343"/>
                <a:gd name="connsiteY11" fmla="*/ 257570 h 394763"/>
                <a:gd name="connsiteX12" fmla="*/ -149 w 327343"/>
                <a:gd name="connsiteY12" fmla="*/ 224766 h 394763"/>
                <a:gd name="connsiteX13" fmla="*/ -149 w 327343"/>
                <a:gd name="connsiteY13" fmla="*/ -102 h 394763"/>
                <a:gd name="connsiteX14" fmla="*/ 63129 w 327343"/>
                <a:gd name="connsiteY14" fmla="*/ -102 h 394763"/>
                <a:gd name="connsiteX15" fmla="*/ 63129 w 327343"/>
                <a:gd name="connsiteY15" fmla="*/ 224072 h 394763"/>
                <a:gd name="connsiteX16" fmla="*/ 63986 w 327343"/>
                <a:gd name="connsiteY16" fmla="*/ 253116 h 394763"/>
                <a:gd name="connsiteX17" fmla="*/ 68094 w 327343"/>
                <a:gd name="connsiteY17" fmla="*/ 280287 h 394763"/>
                <a:gd name="connsiteX18" fmla="*/ 77667 w 327343"/>
                <a:gd name="connsiteY18" fmla="*/ 304205 h 394763"/>
                <a:gd name="connsiteX19" fmla="*/ 94768 w 327343"/>
                <a:gd name="connsiteY19" fmla="*/ 323345 h 394763"/>
                <a:gd name="connsiteX20" fmla="*/ 121304 w 327343"/>
                <a:gd name="connsiteY20" fmla="*/ 335814 h 394763"/>
                <a:gd name="connsiteX21" fmla="*/ 159614 w 327343"/>
                <a:gd name="connsiteY21" fmla="*/ 340258 h 394763"/>
                <a:gd name="connsiteX22" fmla="*/ 215532 w 327343"/>
                <a:gd name="connsiteY22" fmla="*/ 331888 h 394763"/>
                <a:gd name="connsiteX23" fmla="*/ 246832 w 327343"/>
                <a:gd name="connsiteY23" fmla="*/ 308137 h 394763"/>
                <a:gd name="connsiteX24" fmla="*/ 260347 w 327343"/>
                <a:gd name="connsiteY24" fmla="*/ 271401 h 394763"/>
                <a:gd name="connsiteX25" fmla="*/ 263249 w 327343"/>
                <a:gd name="connsiteY25" fmla="*/ 224072 h 394763"/>
                <a:gd name="connsiteX26" fmla="*/ 263249 w 327343"/>
                <a:gd name="connsiteY26" fmla="*/ -102 h 394763"/>
                <a:gd name="connsiteX27" fmla="*/ 327183 w 327343"/>
                <a:gd name="connsiteY27" fmla="*/ -102 h 39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7343" h="394763">
                  <a:moveTo>
                    <a:pt x="327195" y="224755"/>
                  </a:moveTo>
                  <a:cubicBezTo>
                    <a:pt x="327195" y="236836"/>
                    <a:pt x="326683" y="249428"/>
                    <a:pt x="325655" y="262525"/>
                  </a:cubicBezTo>
                  <a:cubicBezTo>
                    <a:pt x="324632" y="275611"/>
                    <a:pt x="322225" y="288558"/>
                    <a:pt x="318477" y="301139"/>
                  </a:cubicBezTo>
                  <a:cubicBezTo>
                    <a:pt x="314708" y="313780"/>
                    <a:pt x="309243" y="325850"/>
                    <a:pt x="302227" y="337020"/>
                  </a:cubicBezTo>
                  <a:cubicBezTo>
                    <a:pt x="294727" y="348740"/>
                    <a:pt x="284959" y="358849"/>
                    <a:pt x="273495" y="366747"/>
                  </a:cubicBezTo>
                  <a:cubicBezTo>
                    <a:pt x="259825" y="376023"/>
                    <a:pt x="244669" y="382893"/>
                    <a:pt x="228686" y="387076"/>
                  </a:cubicBezTo>
                  <a:cubicBezTo>
                    <a:pt x="207576" y="392497"/>
                    <a:pt x="185828" y="395024"/>
                    <a:pt x="164040" y="394596"/>
                  </a:cubicBezTo>
                  <a:cubicBezTo>
                    <a:pt x="140268" y="395141"/>
                    <a:pt x="116540" y="392264"/>
                    <a:pt x="93584" y="386054"/>
                  </a:cubicBezTo>
                  <a:cubicBezTo>
                    <a:pt x="76784" y="381411"/>
                    <a:pt x="60961" y="373768"/>
                    <a:pt x="46885" y="363498"/>
                  </a:cubicBezTo>
                  <a:cubicBezTo>
                    <a:pt x="35393" y="354988"/>
                    <a:pt x="25881" y="344090"/>
                    <a:pt x="19009" y="331554"/>
                  </a:cubicBezTo>
                  <a:cubicBezTo>
                    <a:pt x="12749" y="319935"/>
                    <a:pt x="8085" y="307521"/>
                    <a:pt x="5155" y="294651"/>
                  </a:cubicBezTo>
                  <a:cubicBezTo>
                    <a:pt x="2364" y="282476"/>
                    <a:pt x="757" y="270056"/>
                    <a:pt x="368" y="257570"/>
                  </a:cubicBezTo>
                  <a:cubicBezTo>
                    <a:pt x="18" y="245500"/>
                    <a:pt x="-154" y="234564"/>
                    <a:pt x="-149" y="224766"/>
                  </a:cubicBezTo>
                  <a:lnTo>
                    <a:pt x="-149" y="-102"/>
                  </a:lnTo>
                  <a:lnTo>
                    <a:pt x="63129" y="-102"/>
                  </a:lnTo>
                  <a:lnTo>
                    <a:pt x="63129" y="224072"/>
                  </a:lnTo>
                  <a:cubicBezTo>
                    <a:pt x="63129" y="233870"/>
                    <a:pt x="63413" y="243551"/>
                    <a:pt x="63986" y="253116"/>
                  </a:cubicBezTo>
                  <a:cubicBezTo>
                    <a:pt x="64491" y="262280"/>
                    <a:pt x="65865" y="271379"/>
                    <a:pt x="68094" y="280287"/>
                  </a:cubicBezTo>
                  <a:cubicBezTo>
                    <a:pt x="70184" y="288658"/>
                    <a:pt x="73403" y="296701"/>
                    <a:pt x="77667" y="304205"/>
                  </a:cubicBezTo>
                  <a:cubicBezTo>
                    <a:pt x="81965" y="311709"/>
                    <a:pt x="87791" y="318230"/>
                    <a:pt x="94768" y="323345"/>
                  </a:cubicBezTo>
                  <a:cubicBezTo>
                    <a:pt x="102774" y="329094"/>
                    <a:pt x="111769" y="333321"/>
                    <a:pt x="121304" y="335814"/>
                  </a:cubicBezTo>
                  <a:cubicBezTo>
                    <a:pt x="133813" y="339025"/>
                    <a:pt x="146700" y="340519"/>
                    <a:pt x="159614" y="340258"/>
                  </a:cubicBezTo>
                  <a:cubicBezTo>
                    <a:pt x="178611" y="340980"/>
                    <a:pt x="197580" y="338136"/>
                    <a:pt x="215532" y="331888"/>
                  </a:cubicBezTo>
                  <a:cubicBezTo>
                    <a:pt x="228096" y="327255"/>
                    <a:pt x="238993" y="318985"/>
                    <a:pt x="246832" y="308137"/>
                  </a:cubicBezTo>
                  <a:cubicBezTo>
                    <a:pt x="254182" y="297129"/>
                    <a:pt x="258813" y="284542"/>
                    <a:pt x="260347" y="271401"/>
                  </a:cubicBezTo>
                  <a:cubicBezTo>
                    <a:pt x="262371" y="255704"/>
                    <a:pt x="263338" y="239896"/>
                    <a:pt x="263249" y="224072"/>
                  </a:cubicBezTo>
                  <a:lnTo>
                    <a:pt x="263249" y="-102"/>
                  </a:lnTo>
                  <a:lnTo>
                    <a:pt x="327183" y="-102"/>
                  </a:lnTo>
                  <a:close/>
                </a:path>
              </a:pathLst>
            </a:custGeom>
            <a:solidFill>
              <a:srgbClr val="FFFFFF"/>
            </a:solidFill>
            <a:ln w="5546"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81CC5DD-F71B-4B0C-9F36-53D282D47166}"/>
                </a:ext>
              </a:extLst>
            </p:cNvPr>
            <p:cNvSpPr/>
            <p:nvPr/>
          </p:nvSpPr>
          <p:spPr>
            <a:xfrm>
              <a:off x="7194849" y="4317668"/>
              <a:ext cx="401896" cy="388544"/>
            </a:xfrm>
            <a:custGeom>
              <a:avLst/>
              <a:gdLst>
                <a:gd name="connsiteX0" fmla="*/ 401747 w 401896"/>
                <a:gd name="connsiteY0" fmla="*/ 388442 h 388544"/>
                <a:gd name="connsiteX1" fmla="*/ 342233 w 401896"/>
                <a:gd name="connsiteY1" fmla="*/ 388442 h 388544"/>
                <a:gd name="connsiteX2" fmla="*/ 342233 w 401896"/>
                <a:gd name="connsiteY2" fmla="*/ 78509 h 388544"/>
                <a:gd name="connsiteX3" fmla="*/ 340176 w 401896"/>
                <a:gd name="connsiteY3" fmla="*/ 78509 h 388544"/>
                <a:gd name="connsiteX4" fmla="*/ 223882 w 401896"/>
                <a:gd name="connsiteY4" fmla="*/ 388442 h 388544"/>
                <a:gd name="connsiteX5" fmla="*/ 176343 w 401896"/>
                <a:gd name="connsiteY5" fmla="*/ 388442 h 388544"/>
                <a:gd name="connsiteX6" fmla="*/ 60733 w 401896"/>
                <a:gd name="connsiteY6" fmla="*/ 72688 h 388544"/>
                <a:gd name="connsiteX7" fmla="*/ 59365 w 401896"/>
                <a:gd name="connsiteY7" fmla="*/ 72688 h 388544"/>
                <a:gd name="connsiteX8" fmla="*/ 59365 w 401896"/>
                <a:gd name="connsiteY8" fmla="*/ 388442 h 388544"/>
                <a:gd name="connsiteX9" fmla="*/ -149 w 401896"/>
                <a:gd name="connsiteY9" fmla="*/ 388442 h 388544"/>
                <a:gd name="connsiteX10" fmla="*/ -149 w 401896"/>
                <a:gd name="connsiteY10" fmla="*/ -102 h 388544"/>
                <a:gd name="connsiteX11" fmla="*/ 89448 w 401896"/>
                <a:gd name="connsiteY11" fmla="*/ -102 h 388544"/>
                <a:gd name="connsiteX12" fmla="*/ 183164 w 401896"/>
                <a:gd name="connsiteY12" fmla="*/ 254843 h 388544"/>
                <a:gd name="connsiteX13" fmla="*/ 194623 w 401896"/>
                <a:gd name="connsiteY13" fmla="*/ 289358 h 388544"/>
                <a:gd name="connsiteX14" fmla="*/ 201978 w 401896"/>
                <a:gd name="connsiteY14" fmla="*/ 317035 h 388544"/>
                <a:gd name="connsiteX15" fmla="*/ 202661 w 401896"/>
                <a:gd name="connsiteY15" fmla="*/ 317035 h 388544"/>
                <a:gd name="connsiteX16" fmla="*/ 211557 w 401896"/>
                <a:gd name="connsiteY16" fmla="*/ 288847 h 388544"/>
                <a:gd name="connsiteX17" fmla="*/ 224549 w 401896"/>
                <a:gd name="connsiteY17" fmla="*/ 250744 h 388544"/>
                <a:gd name="connsiteX18" fmla="*/ 320668 w 401896"/>
                <a:gd name="connsiteY18" fmla="*/ -86 h 388544"/>
                <a:gd name="connsiteX19" fmla="*/ 401731 w 401896"/>
                <a:gd name="connsiteY19" fmla="*/ -86 h 3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1896" h="388544">
                  <a:moveTo>
                    <a:pt x="401747" y="388442"/>
                  </a:moveTo>
                  <a:lnTo>
                    <a:pt x="342233" y="388442"/>
                  </a:lnTo>
                  <a:lnTo>
                    <a:pt x="342233" y="78509"/>
                  </a:lnTo>
                  <a:lnTo>
                    <a:pt x="340176" y="78509"/>
                  </a:lnTo>
                  <a:lnTo>
                    <a:pt x="223882" y="388442"/>
                  </a:lnTo>
                  <a:lnTo>
                    <a:pt x="176343" y="388442"/>
                  </a:lnTo>
                  <a:lnTo>
                    <a:pt x="60733" y="72688"/>
                  </a:lnTo>
                  <a:lnTo>
                    <a:pt x="59365" y="72688"/>
                  </a:lnTo>
                  <a:lnTo>
                    <a:pt x="59365" y="388442"/>
                  </a:lnTo>
                  <a:lnTo>
                    <a:pt x="-149" y="388442"/>
                  </a:lnTo>
                  <a:lnTo>
                    <a:pt x="-149" y="-102"/>
                  </a:lnTo>
                  <a:lnTo>
                    <a:pt x="89448" y="-102"/>
                  </a:lnTo>
                  <a:lnTo>
                    <a:pt x="183164" y="254843"/>
                  </a:lnTo>
                  <a:cubicBezTo>
                    <a:pt x="187723" y="266690"/>
                    <a:pt x="191542" y="278199"/>
                    <a:pt x="194623" y="289358"/>
                  </a:cubicBezTo>
                  <a:cubicBezTo>
                    <a:pt x="197702" y="300517"/>
                    <a:pt x="200154" y="309742"/>
                    <a:pt x="201978" y="317035"/>
                  </a:cubicBezTo>
                  <a:lnTo>
                    <a:pt x="202661" y="317035"/>
                  </a:lnTo>
                  <a:cubicBezTo>
                    <a:pt x="205169" y="309998"/>
                    <a:pt x="208138" y="300605"/>
                    <a:pt x="211557" y="288847"/>
                  </a:cubicBezTo>
                  <a:cubicBezTo>
                    <a:pt x="214976" y="277088"/>
                    <a:pt x="219307" y="264391"/>
                    <a:pt x="224549" y="250744"/>
                  </a:cubicBezTo>
                  <a:lnTo>
                    <a:pt x="320668" y="-86"/>
                  </a:lnTo>
                  <a:lnTo>
                    <a:pt x="401731" y="-86"/>
                  </a:lnTo>
                  <a:close/>
                </a:path>
              </a:pathLst>
            </a:custGeom>
            <a:solidFill>
              <a:srgbClr val="FFFFFF"/>
            </a:solidFill>
            <a:ln w="5546" cap="flat">
              <a:noFill/>
              <a:prstDash val="solid"/>
              <a:miter/>
            </a:ln>
          </p:spPr>
          <p:txBody>
            <a:bodyPr rtlCol="0" anchor="ctr"/>
            <a:lstStyle/>
            <a:p>
              <a:endParaRPr lang="en-US"/>
            </a:p>
          </p:txBody>
        </p:sp>
      </p:grpSp>
    </p:spTree>
    <p:extLst>
      <p:ext uri="{BB962C8B-B14F-4D97-AF65-F5344CB8AC3E}">
        <p14:creationId xmlns:p14="http://schemas.microsoft.com/office/powerpoint/2010/main" val="4475753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slide - Energy">
    <p:bg>
      <p:bgPr>
        <a:solidFill>
          <a:schemeClr val="tx2"/>
        </a:solidFill>
        <a:effectLst/>
      </p:bgPr>
    </p:bg>
    <p:spTree>
      <p:nvGrpSpPr>
        <p:cNvPr id="1" name=""/>
        <p:cNvGrpSpPr/>
        <p:nvPr/>
      </p:nvGrpSpPr>
      <p:grpSpPr>
        <a:xfrm>
          <a:off x="0" y="0"/>
          <a:ext cx="0" cy="0"/>
          <a:chOff x="0" y="0"/>
          <a:chExt cx="0" cy="0"/>
        </a:xfrm>
      </p:grpSpPr>
      <p:grpSp>
        <p:nvGrpSpPr>
          <p:cNvPr id="3" name="Graphic 1">
            <a:extLst>
              <a:ext uri="{FF2B5EF4-FFF2-40B4-BE49-F238E27FC236}">
                <a16:creationId xmlns:a16="http://schemas.microsoft.com/office/drawing/2014/main" id="{D8E470A1-4816-4314-A51A-90B01F4EBEC7}"/>
              </a:ext>
            </a:extLst>
          </p:cNvPr>
          <p:cNvGrpSpPr/>
          <p:nvPr/>
        </p:nvGrpSpPr>
        <p:grpSpPr>
          <a:xfrm>
            <a:off x="4975504" y="1919842"/>
            <a:ext cx="2261198" cy="2812813"/>
            <a:chOff x="4975504" y="1919842"/>
            <a:chExt cx="2261198" cy="2812813"/>
          </a:xfrm>
        </p:grpSpPr>
        <p:sp>
          <p:nvSpPr>
            <p:cNvPr id="4" name="Freeform: Shape 3">
              <a:extLst>
                <a:ext uri="{FF2B5EF4-FFF2-40B4-BE49-F238E27FC236}">
                  <a16:creationId xmlns:a16="http://schemas.microsoft.com/office/drawing/2014/main" id="{0A628651-6CF5-4D8A-B5DD-B0115E94F372}"/>
                </a:ext>
              </a:extLst>
            </p:cNvPr>
            <p:cNvSpPr/>
            <p:nvPr/>
          </p:nvSpPr>
          <p:spPr>
            <a:xfrm>
              <a:off x="4975509" y="4331994"/>
              <a:ext cx="313867" cy="392743"/>
            </a:xfrm>
            <a:custGeom>
              <a:avLst/>
              <a:gdLst>
                <a:gd name="connsiteX0" fmla="*/ 313646 w 313867"/>
                <a:gd name="connsiteY0" fmla="*/ 392642 h 392743"/>
                <a:gd name="connsiteX1" fmla="*/ -221 w 313867"/>
                <a:gd name="connsiteY1" fmla="*/ 392642 h 392743"/>
                <a:gd name="connsiteX2" fmla="*/ -221 w 313867"/>
                <a:gd name="connsiteY2" fmla="*/ -102 h 392743"/>
                <a:gd name="connsiteX3" fmla="*/ 303617 w 313867"/>
                <a:gd name="connsiteY3" fmla="*/ -102 h 392743"/>
                <a:gd name="connsiteX4" fmla="*/ 303617 w 313867"/>
                <a:gd name="connsiteY4" fmla="*/ 55166 h 392743"/>
                <a:gd name="connsiteX5" fmla="*/ 64139 w 313867"/>
                <a:gd name="connsiteY5" fmla="*/ 55166 h 392743"/>
                <a:gd name="connsiteX6" fmla="*/ 64139 w 313867"/>
                <a:gd name="connsiteY6" fmla="*/ 161901 h 392743"/>
                <a:gd name="connsiteX7" fmla="*/ 288042 w 313867"/>
                <a:gd name="connsiteY7" fmla="*/ 161901 h 392743"/>
                <a:gd name="connsiteX8" fmla="*/ 288042 w 313867"/>
                <a:gd name="connsiteY8" fmla="*/ 217169 h 392743"/>
                <a:gd name="connsiteX9" fmla="*/ 64139 w 313867"/>
                <a:gd name="connsiteY9" fmla="*/ 217169 h 392743"/>
                <a:gd name="connsiteX10" fmla="*/ 64139 w 313867"/>
                <a:gd name="connsiteY10" fmla="*/ 337384 h 392743"/>
                <a:gd name="connsiteX11" fmla="*/ 313646 w 313867"/>
                <a:gd name="connsiteY11" fmla="*/ 337384 h 39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867" h="392743">
                  <a:moveTo>
                    <a:pt x="313646" y="392642"/>
                  </a:moveTo>
                  <a:lnTo>
                    <a:pt x="-221" y="392642"/>
                  </a:lnTo>
                  <a:lnTo>
                    <a:pt x="-221" y="-102"/>
                  </a:lnTo>
                  <a:lnTo>
                    <a:pt x="303617" y="-102"/>
                  </a:lnTo>
                  <a:lnTo>
                    <a:pt x="303617" y="55166"/>
                  </a:lnTo>
                  <a:lnTo>
                    <a:pt x="64139" y="55166"/>
                  </a:lnTo>
                  <a:lnTo>
                    <a:pt x="64139" y="161901"/>
                  </a:lnTo>
                  <a:lnTo>
                    <a:pt x="288042" y="161901"/>
                  </a:lnTo>
                  <a:lnTo>
                    <a:pt x="288042" y="217169"/>
                  </a:lnTo>
                  <a:lnTo>
                    <a:pt x="64139" y="217169"/>
                  </a:lnTo>
                  <a:lnTo>
                    <a:pt x="64139" y="337384"/>
                  </a:lnTo>
                  <a:lnTo>
                    <a:pt x="313646" y="337384"/>
                  </a:lnTo>
                  <a:close/>
                </a:path>
              </a:pathLst>
            </a:custGeom>
            <a:solidFill>
              <a:srgbClr val="FFFFFF"/>
            </a:solidFill>
            <a:ln w="5615"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E5CD5EDB-0C62-471D-BE05-DC68A8ABDCA5}"/>
                </a:ext>
              </a:extLst>
            </p:cNvPr>
            <p:cNvSpPr/>
            <p:nvPr/>
          </p:nvSpPr>
          <p:spPr>
            <a:xfrm>
              <a:off x="5337233" y="4331994"/>
              <a:ext cx="330832" cy="392743"/>
            </a:xfrm>
            <a:custGeom>
              <a:avLst/>
              <a:gdLst>
                <a:gd name="connsiteX0" fmla="*/ 330611 w 330832"/>
                <a:gd name="connsiteY0" fmla="*/ 392642 h 392743"/>
                <a:gd name="connsiteX1" fmla="*/ 264851 w 330832"/>
                <a:gd name="connsiteY1" fmla="*/ 392642 h 392743"/>
                <a:gd name="connsiteX2" fmla="*/ 62057 w 330832"/>
                <a:gd name="connsiteY2" fmla="*/ 96269 h 392743"/>
                <a:gd name="connsiteX3" fmla="*/ 60668 w 330832"/>
                <a:gd name="connsiteY3" fmla="*/ 96269 h 392743"/>
                <a:gd name="connsiteX4" fmla="*/ 60668 w 330832"/>
                <a:gd name="connsiteY4" fmla="*/ 392642 h 392743"/>
                <a:gd name="connsiteX5" fmla="*/ -221 w 330832"/>
                <a:gd name="connsiteY5" fmla="*/ 392642 h 392743"/>
                <a:gd name="connsiteX6" fmla="*/ -221 w 330832"/>
                <a:gd name="connsiteY6" fmla="*/ -102 h 392743"/>
                <a:gd name="connsiteX7" fmla="*/ 64836 w 330832"/>
                <a:gd name="connsiteY7" fmla="*/ -102 h 392743"/>
                <a:gd name="connsiteX8" fmla="*/ 267629 w 330832"/>
                <a:gd name="connsiteY8" fmla="*/ 296265 h 392743"/>
                <a:gd name="connsiteX9" fmla="*/ 269013 w 330832"/>
                <a:gd name="connsiteY9" fmla="*/ 296265 h 392743"/>
                <a:gd name="connsiteX10" fmla="*/ 269013 w 330832"/>
                <a:gd name="connsiteY10" fmla="*/ -102 h 392743"/>
                <a:gd name="connsiteX11" fmla="*/ 330611 w 330832"/>
                <a:gd name="connsiteY11" fmla="*/ -102 h 39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832" h="392743">
                  <a:moveTo>
                    <a:pt x="330611" y="392642"/>
                  </a:moveTo>
                  <a:lnTo>
                    <a:pt x="264851" y="392642"/>
                  </a:lnTo>
                  <a:lnTo>
                    <a:pt x="62057" y="96269"/>
                  </a:lnTo>
                  <a:lnTo>
                    <a:pt x="60668" y="96269"/>
                  </a:lnTo>
                  <a:lnTo>
                    <a:pt x="60668" y="392642"/>
                  </a:lnTo>
                  <a:lnTo>
                    <a:pt x="-221" y="392642"/>
                  </a:lnTo>
                  <a:lnTo>
                    <a:pt x="-221" y="-102"/>
                  </a:lnTo>
                  <a:lnTo>
                    <a:pt x="64836" y="-102"/>
                  </a:lnTo>
                  <a:lnTo>
                    <a:pt x="267629" y="296265"/>
                  </a:lnTo>
                  <a:lnTo>
                    <a:pt x="269013" y="296265"/>
                  </a:lnTo>
                  <a:lnTo>
                    <a:pt x="269013" y="-102"/>
                  </a:lnTo>
                  <a:lnTo>
                    <a:pt x="330611" y="-102"/>
                  </a:lnTo>
                  <a:close/>
                </a:path>
              </a:pathLst>
            </a:custGeom>
            <a:solidFill>
              <a:srgbClr val="FFFFFF"/>
            </a:solidFill>
            <a:ln w="561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D8BA06F5-0EBB-4726-B5B8-3B73B10EE83E}"/>
                </a:ext>
              </a:extLst>
            </p:cNvPr>
            <p:cNvSpPr/>
            <p:nvPr/>
          </p:nvSpPr>
          <p:spPr>
            <a:xfrm>
              <a:off x="5730980" y="4331994"/>
              <a:ext cx="313867" cy="392743"/>
            </a:xfrm>
            <a:custGeom>
              <a:avLst/>
              <a:gdLst>
                <a:gd name="connsiteX0" fmla="*/ 313647 w 313867"/>
                <a:gd name="connsiteY0" fmla="*/ 392642 h 392743"/>
                <a:gd name="connsiteX1" fmla="*/ -221 w 313867"/>
                <a:gd name="connsiteY1" fmla="*/ 392642 h 392743"/>
                <a:gd name="connsiteX2" fmla="*/ -221 w 313867"/>
                <a:gd name="connsiteY2" fmla="*/ -102 h 392743"/>
                <a:gd name="connsiteX3" fmla="*/ 303623 w 313867"/>
                <a:gd name="connsiteY3" fmla="*/ -102 h 392743"/>
                <a:gd name="connsiteX4" fmla="*/ 303623 w 313867"/>
                <a:gd name="connsiteY4" fmla="*/ 55166 h 392743"/>
                <a:gd name="connsiteX5" fmla="*/ 64139 w 313867"/>
                <a:gd name="connsiteY5" fmla="*/ 55166 h 392743"/>
                <a:gd name="connsiteX6" fmla="*/ 64139 w 313867"/>
                <a:gd name="connsiteY6" fmla="*/ 161901 h 392743"/>
                <a:gd name="connsiteX7" fmla="*/ 288037 w 313867"/>
                <a:gd name="connsiteY7" fmla="*/ 161901 h 392743"/>
                <a:gd name="connsiteX8" fmla="*/ 288037 w 313867"/>
                <a:gd name="connsiteY8" fmla="*/ 217169 h 392743"/>
                <a:gd name="connsiteX9" fmla="*/ 64139 w 313867"/>
                <a:gd name="connsiteY9" fmla="*/ 217169 h 392743"/>
                <a:gd name="connsiteX10" fmla="*/ 64139 w 313867"/>
                <a:gd name="connsiteY10" fmla="*/ 337384 h 392743"/>
                <a:gd name="connsiteX11" fmla="*/ 313647 w 313867"/>
                <a:gd name="connsiteY11" fmla="*/ 337384 h 39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867" h="392743">
                  <a:moveTo>
                    <a:pt x="313647" y="392642"/>
                  </a:moveTo>
                  <a:lnTo>
                    <a:pt x="-221" y="392642"/>
                  </a:lnTo>
                  <a:lnTo>
                    <a:pt x="-221" y="-102"/>
                  </a:lnTo>
                  <a:lnTo>
                    <a:pt x="303623" y="-102"/>
                  </a:lnTo>
                  <a:lnTo>
                    <a:pt x="303623" y="55166"/>
                  </a:lnTo>
                  <a:lnTo>
                    <a:pt x="64139" y="55166"/>
                  </a:lnTo>
                  <a:lnTo>
                    <a:pt x="64139" y="161901"/>
                  </a:lnTo>
                  <a:lnTo>
                    <a:pt x="288037" y="161901"/>
                  </a:lnTo>
                  <a:lnTo>
                    <a:pt x="288037" y="217169"/>
                  </a:lnTo>
                  <a:lnTo>
                    <a:pt x="64139" y="217169"/>
                  </a:lnTo>
                  <a:lnTo>
                    <a:pt x="64139" y="337384"/>
                  </a:lnTo>
                  <a:lnTo>
                    <a:pt x="313647" y="337384"/>
                  </a:lnTo>
                  <a:close/>
                </a:path>
              </a:pathLst>
            </a:custGeom>
            <a:solidFill>
              <a:srgbClr val="FFFFFF"/>
            </a:solidFill>
            <a:ln w="561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ACC530A2-56C2-408D-A0D7-60C921B47FC5}"/>
                </a:ext>
              </a:extLst>
            </p:cNvPr>
            <p:cNvSpPr/>
            <p:nvPr/>
          </p:nvSpPr>
          <p:spPr>
            <a:xfrm>
              <a:off x="6098323" y="4331980"/>
              <a:ext cx="371337" cy="392758"/>
            </a:xfrm>
            <a:custGeom>
              <a:avLst/>
              <a:gdLst>
                <a:gd name="connsiteX0" fmla="*/ 371116 w 371337"/>
                <a:gd name="connsiteY0" fmla="*/ 392656 h 392758"/>
                <a:gd name="connsiteX1" fmla="*/ 292199 w 371337"/>
                <a:gd name="connsiteY1" fmla="*/ 392656 h 392758"/>
                <a:gd name="connsiteX2" fmla="*/ 218513 w 371337"/>
                <a:gd name="connsiteY2" fmla="*/ 285230 h 392758"/>
                <a:gd name="connsiteX3" fmla="*/ 195153 w 371337"/>
                <a:gd name="connsiteY3" fmla="*/ 254311 h 392758"/>
                <a:gd name="connsiteX4" fmla="*/ 173700 w 371337"/>
                <a:gd name="connsiteY4" fmla="*/ 234622 h 392758"/>
                <a:gd name="connsiteX5" fmla="*/ 149991 w 371337"/>
                <a:gd name="connsiteY5" fmla="*/ 224257 h 392758"/>
                <a:gd name="connsiteX6" fmla="*/ 120230 w 371337"/>
                <a:gd name="connsiteY6" fmla="*/ 221327 h 392758"/>
                <a:gd name="connsiteX7" fmla="*/ 64167 w 371337"/>
                <a:gd name="connsiteY7" fmla="*/ 221327 h 392758"/>
                <a:gd name="connsiteX8" fmla="*/ 64167 w 371337"/>
                <a:gd name="connsiteY8" fmla="*/ 392656 h 392758"/>
                <a:gd name="connsiteX9" fmla="*/ -221 w 371337"/>
                <a:gd name="connsiteY9" fmla="*/ 392656 h 392758"/>
                <a:gd name="connsiteX10" fmla="*/ -221 w 371337"/>
                <a:gd name="connsiteY10" fmla="*/ -88 h 392758"/>
                <a:gd name="connsiteX11" fmla="*/ 186648 w 371337"/>
                <a:gd name="connsiteY11" fmla="*/ -88 h 392758"/>
                <a:gd name="connsiteX12" fmla="*/ 248944 w 371337"/>
                <a:gd name="connsiteY12" fmla="*/ 5442 h 392758"/>
                <a:gd name="connsiteX13" fmla="*/ 296007 w 371337"/>
                <a:gd name="connsiteY13" fmla="*/ 23571 h 392758"/>
                <a:gd name="connsiteX14" fmla="*/ 325768 w 371337"/>
                <a:gd name="connsiteY14" fmla="*/ 56729 h 392758"/>
                <a:gd name="connsiteX15" fmla="*/ 336152 w 371337"/>
                <a:gd name="connsiteY15" fmla="*/ 107686 h 392758"/>
                <a:gd name="connsiteX16" fmla="*/ 306216 w 371337"/>
                <a:gd name="connsiteY16" fmla="*/ 180392 h 392758"/>
                <a:gd name="connsiteX17" fmla="*/ 217799 w 371337"/>
                <a:gd name="connsiteY17" fmla="*/ 215802 h 392758"/>
                <a:gd name="connsiteX18" fmla="*/ 217799 w 371337"/>
                <a:gd name="connsiteY18" fmla="*/ 217183 h 392758"/>
                <a:gd name="connsiteX19" fmla="*/ 297391 w 371337"/>
                <a:gd name="connsiteY19" fmla="*/ 287302 h 392758"/>
                <a:gd name="connsiteX20" fmla="*/ 64161 w 371337"/>
                <a:gd name="connsiteY20" fmla="*/ 171931 h 392758"/>
                <a:gd name="connsiteX21" fmla="*/ 173171 w 371337"/>
                <a:gd name="connsiteY21" fmla="*/ 171931 h 392758"/>
                <a:gd name="connsiteX22" fmla="*/ 245496 w 371337"/>
                <a:gd name="connsiteY22" fmla="*/ 157081 h 392758"/>
                <a:gd name="connsiteX23" fmla="*/ 270414 w 371337"/>
                <a:gd name="connsiteY23" fmla="*/ 107674 h 392758"/>
                <a:gd name="connsiteX24" fmla="*/ 249135 w 371337"/>
                <a:gd name="connsiteY24" fmla="*/ 66049 h 392758"/>
                <a:gd name="connsiteX25" fmla="*/ 180438 w 371337"/>
                <a:gd name="connsiteY25" fmla="*/ 51716 h 392758"/>
                <a:gd name="connsiteX26" fmla="*/ 64144 w 371337"/>
                <a:gd name="connsiteY26" fmla="*/ 51716 h 392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1337" h="392758">
                  <a:moveTo>
                    <a:pt x="371116" y="392656"/>
                  </a:moveTo>
                  <a:lnTo>
                    <a:pt x="292199" y="392656"/>
                  </a:lnTo>
                  <a:lnTo>
                    <a:pt x="218513" y="285230"/>
                  </a:lnTo>
                  <a:cubicBezTo>
                    <a:pt x="211280" y="274518"/>
                    <a:pt x="203483" y="264198"/>
                    <a:pt x="195153" y="254311"/>
                  </a:cubicBezTo>
                  <a:cubicBezTo>
                    <a:pt x="188887" y="246850"/>
                    <a:pt x="181676" y="240231"/>
                    <a:pt x="173700" y="234622"/>
                  </a:cubicBezTo>
                  <a:cubicBezTo>
                    <a:pt x="166517" y="229715"/>
                    <a:pt x="158473" y="226200"/>
                    <a:pt x="149991" y="224257"/>
                  </a:cubicBezTo>
                  <a:cubicBezTo>
                    <a:pt x="140209" y="222180"/>
                    <a:pt x="130231" y="221198"/>
                    <a:pt x="120230" y="221327"/>
                  </a:cubicBezTo>
                  <a:lnTo>
                    <a:pt x="64167" y="221327"/>
                  </a:lnTo>
                  <a:lnTo>
                    <a:pt x="64167" y="392656"/>
                  </a:lnTo>
                  <a:lnTo>
                    <a:pt x="-221" y="392656"/>
                  </a:lnTo>
                  <a:lnTo>
                    <a:pt x="-221" y="-88"/>
                  </a:lnTo>
                  <a:lnTo>
                    <a:pt x="186648" y="-88"/>
                  </a:lnTo>
                  <a:cubicBezTo>
                    <a:pt x="207545" y="-285"/>
                    <a:pt x="228407" y="1568"/>
                    <a:pt x="248944" y="5442"/>
                  </a:cubicBezTo>
                  <a:cubicBezTo>
                    <a:pt x="265644" y="8440"/>
                    <a:pt x="281619" y="14593"/>
                    <a:pt x="296007" y="23571"/>
                  </a:cubicBezTo>
                  <a:cubicBezTo>
                    <a:pt x="308725" y="31762"/>
                    <a:pt x="319007" y="43216"/>
                    <a:pt x="325768" y="56729"/>
                  </a:cubicBezTo>
                  <a:cubicBezTo>
                    <a:pt x="333165" y="72674"/>
                    <a:pt x="336720" y="90124"/>
                    <a:pt x="336152" y="107686"/>
                  </a:cubicBezTo>
                  <a:cubicBezTo>
                    <a:pt x="337192" y="135106"/>
                    <a:pt x="326274" y="161629"/>
                    <a:pt x="306216" y="180392"/>
                  </a:cubicBezTo>
                  <a:cubicBezTo>
                    <a:pt x="286253" y="198936"/>
                    <a:pt x="256779" y="210744"/>
                    <a:pt x="217799" y="215802"/>
                  </a:cubicBezTo>
                  <a:lnTo>
                    <a:pt x="217799" y="217183"/>
                  </a:lnTo>
                  <a:cubicBezTo>
                    <a:pt x="246171" y="228463"/>
                    <a:pt x="272703" y="251835"/>
                    <a:pt x="297391" y="287302"/>
                  </a:cubicBezTo>
                  <a:close/>
                  <a:moveTo>
                    <a:pt x="64161" y="171931"/>
                  </a:moveTo>
                  <a:lnTo>
                    <a:pt x="173171" y="171931"/>
                  </a:lnTo>
                  <a:cubicBezTo>
                    <a:pt x="204777" y="171931"/>
                    <a:pt x="228885" y="166979"/>
                    <a:pt x="245496" y="157081"/>
                  </a:cubicBezTo>
                  <a:cubicBezTo>
                    <a:pt x="262106" y="147183"/>
                    <a:pt x="270414" y="130710"/>
                    <a:pt x="270414" y="107674"/>
                  </a:cubicBezTo>
                  <a:cubicBezTo>
                    <a:pt x="271201" y="91017"/>
                    <a:pt x="263107" y="75189"/>
                    <a:pt x="249135" y="66049"/>
                  </a:cubicBezTo>
                  <a:cubicBezTo>
                    <a:pt x="234943" y="56494"/>
                    <a:pt x="212044" y="51716"/>
                    <a:pt x="180438" y="51716"/>
                  </a:cubicBezTo>
                  <a:lnTo>
                    <a:pt x="64144" y="51716"/>
                  </a:lnTo>
                  <a:close/>
                </a:path>
              </a:pathLst>
            </a:custGeom>
            <a:solidFill>
              <a:srgbClr val="FFFFFF"/>
            </a:solidFill>
            <a:ln w="561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0746657D-024D-49B5-864B-EDAA7641378B}"/>
                </a:ext>
              </a:extLst>
            </p:cNvPr>
            <p:cNvSpPr/>
            <p:nvPr/>
          </p:nvSpPr>
          <p:spPr>
            <a:xfrm>
              <a:off x="6471023" y="4325744"/>
              <a:ext cx="386224" cy="405227"/>
            </a:xfrm>
            <a:custGeom>
              <a:avLst/>
              <a:gdLst>
                <a:gd name="connsiteX0" fmla="*/ 386003 w 386224"/>
                <a:gd name="connsiteY0" fmla="*/ 345695 h 405227"/>
                <a:gd name="connsiteX1" fmla="*/ 209512 w 386224"/>
                <a:gd name="connsiteY1" fmla="*/ 405107 h 405227"/>
                <a:gd name="connsiteX2" fmla="*/ 124205 w 386224"/>
                <a:gd name="connsiteY2" fmla="*/ 390768 h 405227"/>
                <a:gd name="connsiteX3" fmla="*/ 57933 w 386224"/>
                <a:gd name="connsiteY3" fmla="*/ 350007 h 405227"/>
                <a:gd name="connsiteX4" fmla="*/ 15026 w 386224"/>
                <a:gd name="connsiteY4" fmla="*/ 286452 h 405227"/>
                <a:gd name="connsiteX5" fmla="*/ -200 w 386224"/>
                <a:gd name="connsiteY5" fmla="*/ 203730 h 405227"/>
                <a:gd name="connsiteX6" fmla="*/ 13986 w 386224"/>
                <a:gd name="connsiteY6" fmla="*/ 121344 h 405227"/>
                <a:gd name="connsiteX7" fmla="*/ 54991 w 386224"/>
                <a:gd name="connsiteY7" fmla="*/ 56924 h 405227"/>
                <a:gd name="connsiteX8" fmla="*/ 120740 w 386224"/>
                <a:gd name="connsiteY8" fmla="*/ 14957 h 405227"/>
                <a:gd name="connsiteX9" fmla="*/ 209512 w 386224"/>
                <a:gd name="connsiteY9" fmla="*/ -67 h 405227"/>
                <a:gd name="connsiteX10" fmla="*/ 379771 w 386224"/>
                <a:gd name="connsiteY10" fmla="*/ 111850 h 405227"/>
                <a:gd name="connsiteX11" fmla="*/ 321632 w 386224"/>
                <a:gd name="connsiteY11" fmla="*/ 124280 h 405227"/>
                <a:gd name="connsiteX12" fmla="*/ 207447 w 386224"/>
                <a:gd name="connsiteY12" fmla="*/ 53129 h 405227"/>
                <a:gd name="connsiteX13" fmla="*/ 146018 w 386224"/>
                <a:gd name="connsiteY13" fmla="*/ 63835 h 405227"/>
                <a:gd name="connsiteX14" fmla="*/ 101897 w 386224"/>
                <a:gd name="connsiteY14" fmla="*/ 94058 h 405227"/>
                <a:gd name="connsiteX15" fmla="*/ 75420 w 386224"/>
                <a:gd name="connsiteY15" fmla="*/ 140865 h 405227"/>
                <a:gd name="connsiteX16" fmla="*/ 76287 w 386224"/>
                <a:gd name="connsiteY16" fmla="*/ 264691 h 405227"/>
                <a:gd name="connsiteX17" fmla="*/ 103972 w 386224"/>
                <a:gd name="connsiteY17" fmla="*/ 311498 h 405227"/>
                <a:gd name="connsiteX18" fmla="*/ 147925 w 386224"/>
                <a:gd name="connsiteY18" fmla="*/ 340339 h 405227"/>
                <a:gd name="connsiteX19" fmla="*/ 206756 w 386224"/>
                <a:gd name="connsiteY19" fmla="*/ 350187 h 405227"/>
                <a:gd name="connsiteX20" fmla="*/ 324411 w 386224"/>
                <a:gd name="connsiteY20" fmla="*/ 315299 h 405227"/>
                <a:gd name="connsiteX21" fmla="*/ 324411 w 386224"/>
                <a:gd name="connsiteY21" fmla="*/ 251048 h 405227"/>
                <a:gd name="connsiteX22" fmla="*/ 204663 w 386224"/>
                <a:gd name="connsiteY22" fmla="*/ 251048 h 405227"/>
                <a:gd name="connsiteX23" fmla="*/ 204663 w 386224"/>
                <a:gd name="connsiteY23" fmla="*/ 194404 h 405227"/>
                <a:gd name="connsiteX24" fmla="*/ 386003 w 386224"/>
                <a:gd name="connsiteY24" fmla="*/ 194404 h 40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6224" h="405227">
                  <a:moveTo>
                    <a:pt x="386003" y="345695"/>
                  </a:moveTo>
                  <a:cubicBezTo>
                    <a:pt x="335329" y="384345"/>
                    <a:pt x="273292" y="405230"/>
                    <a:pt x="209512" y="405107"/>
                  </a:cubicBezTo>
                  <a:cubicBezTo>
                    <a:pt x="180448" y="405460"/>
                    <a:pt x="151553" y="400604"/>
                    <a:pt x="124205" y="390768"/>
                  </a:cubicBezTo>
                  <a:cubicBezTo>
                    <a:pt x="99540" y="381869"/>
                    <a:pt x="76984" y="367996"/>
                    <a:pt x="57933" y="350007"/>
                  </a:cubicBezTo>
                  <a:cubicBezTo>
                    <a:pt x="39275" y="332103"/>
                    <a:pt x="24645" y="310437"/>
                    <a:pt x="15026" y="286452"/>
                  </a:cubicBezTo>
                  <a:cubicBezTo>
                    <a:pt x="4575" y="260138"/>
                    <a:pt x="-594" y="232032"/>
                    <a:pt x="-200" y="203730"/>
                  </a:cubicBezTo>
                  <a:cubicBezTo>
                    <a:pt x="-526" y="175635"/>
                    <a:pt x="4283" y="147715"/>
                    <a:pt x="13986" y="121344"/>
                  </a:cubicBezTo>
                  <a:cubicBezTo>
                    <a:pt x="22907" y="97202"/>
                    <a:pt x="36885" y="75238"/>
                    <a:pt x="54991" y="56924"/>
                  </a:cubicBezTo>
                  <a:cubicBezTo>
                    <a:pt x="73682" y="38442"/>
                    <a:pt x="96092" y="24136"/>
                    <a:pt x="120740" y="14957"/>
                  </a:cubicBezTo>
                  <a:cubicBezTo>
                    <a:pt x="149146" y="4514"/>
                    <a:pt x="179244" y="-578"/>
                    <a:pt x="209512" y="-67"/>
                  </a:cubicBezTo>
                  <a:cubicBezTo>
                    <a:pt x="303172" y="-67"/>
                    <a:pt x="359926" y="37240"/>
                    <a:pt x="379771" y="111850"/>
                  </a:cubicBezTo>
                  <a:lnTo>
                    <a:pt x="321632" y="124280"/>
                  </a:lnTo>
                  <a:cubicBezTo>
                    <a:pt x="306631" y="76844"/>
                    <a:pt x="268573" y="53129"/>
                    <a:pt x="207447" y="53129"/>
                  </a:cubicBezTo>
                  <a:cubicBezTo>
                    <a:pt x="186472" y="52708"/>
                    <a:pt x="165610" y="56346"/>
                    <a:pt x="146018" y="63835"/>
                  </a:cubicBezTo>
                  <a:cubicBezTo>
                    <a:pt x="129189" y="70410"/>
                    <a:pt x="114097" y="80746"/>
                    <a:pt x="101897" y="94058"/>
                  </a:cubicBezTo>
                  <a:cubicBezTo>
                    <a:pt x="89826" y="107600"/>
                    <a:pt x="80803" y="123556"/>
                    <a:pt x="75420" y="140865"/>
                  </a:cubicBezTo>
                  <a:cubicBezTo>
                    <a:pt x="63372" y="181306"/>
                    <a:pt x="63670" y="224419"/>
                    <a:pt x="76287" y="264691"/>
                  </a:cubicBezTo>
                  <a:cubicBezTo>
                    <a:pt x="82063" y="282090"/>
                    <a:pt x="91502" y="298046"/>
                    <a:pt x="103972" y="311498"/>
                  </a:cubicBezTo>
                  <a:cubicBezTo>
                    <a:pt x="116223" y="324332"/>
                    <a:pt x="131259" y="334202"/>
                    <a:pt x="147925" y="340339"/>
                  </a:cubicBezTo>
                  <a:cubicBezTo>
                    <a:pt x="166768" y="347166"/>
                    <a:pt x="186709" y="350507"/>
                    <a:pt x="206756" y="350187"/>
                  </a:cubicBezTo>
                  <a:cubicBezTo>
                    <a:pt x="248577" y="350507"/>
                    <a:pt x="289548" y="338357"/>
                    <a:pt x="324411" y="315299"/>
                  </a:cubicBezTo>
                  <a:lnTo>
                    <a:pt x="324411" y="251048"/>
                  </a:lnTo>
                  <a:lnTo>
                    <a:pt x="204663" y="251048"/>
                  </a:lnTo>
                  <a:lnTo>
                    <a:pt x="204663" y="194404"/>
                  </a:lnTo>
                  <a:lnTo>
                    <a:pt x="386003" y="194404"/>
                  </a:lnTo>
                  <a:close/>
                </a:path>
              </a:pathLst>
            </a:custGeom>
            <a:solidFill>
              <a:srgbClr val="FFFFFF"/>
            </a:solidFill>
            <a:ln w="561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BAB0C0F-F4BB-4991-9F36-2F3A920F3B10}"/>
                </a:ext>
              </a:extLst>
            </p:cNvPr>
            <p:cNvSpPr/>
            <p:nvPr/>
          </p:nvSpPr>
          <p:spPr>
            <a:xfrm>
              <a:off x="6853276" y="4331994"/>
              <a:ext cx="386197" cy="392743"/>
            </a:xfrm>
            <a:custGeom>
              <a:avLst/>
              <a:gdLst>
                <a:gd name="connsiteX0" fmla="*/ 385977 w 386197"/>
                <a:gd name="connsiteY0" fmla="*/ -102 h 392743"/>
                <a:gd name="connsiteX1" fmla="*/ 222293 w 386197"/>
                <a:gd name="connsiteY1" fmla="*/ 226495 h 392743"/>
                <a:gd name="connsiteX2" fmla="*/ 222293 w 386197"/>
                <a:gd name="connsiteY2" fmla="*/ 392642 h 392743"/>
                <a:gd name="connsiteX3" fmla="*/ 157922 w 386197"/>
                <a:gd name="connsiteY3" fmla="*/ 392642 h 392743"/>
                <a:gd name="connsiteX4" fmla="*/ 157922 w 386197"/>
                <a:gd name="connsiteY4" fmla="*/ 226495 h 392743"/>
                <a:gd name="connsiteX5" fmla="*/ -221 w 386197"/>
                <a:gd name="connsiteY5" fmla="*/ -102 h 392743"/>
                <a:gd name="connsiteX6" fmla="*/ 75563 w 386197"/>
                <a:gd name="connsiteY6" fmla="*/ -102 h 392743"/>
                <a:gd name="connsiteX7" fmla="*/ 160003 w 386197"/>
                <a:gd name="connsiteY7" fmla="*/ 126665 h 392743"/>
                <a:gd name="connsiteX8" fmla="*/ 178346 w 386197"/>
                <a:gd name="connsiteY8" fmla="*/ 154647 h 392743"/>
                <a:gd name="connsiteX9" fmla="*/ 192532 w 386197"/>
                <a:gd name="connsiteY9" fmla="*/ 179862 h 392743"/>
                <a:gd name="connsiteX10" fmla="*/ 204474 w 386197"/>
                <a:gd name="connsiteY10" fmla="*/ 157578 h 392743"/>
                <a:gd name="connsiteX11" fmla="*/ 225061 w 386197"/>
                <a:gd name="connsiteY11" fmla="*/ 125975 h 392743"/>
                <a:gd name="connsiteX12" fmla="*/ 311577 w 386197"/>
                <a:gd name="connsiteY12" fmla="*/ -102 h 39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6197" h="392743">
                  <a:moveTo>
                    <a:pt x="385977" y="-102"/>
                  </a:moveTo>
                  <a:lnTo>
                    <a:pt x="222293" y="226495"/>
                  </a:lnTo>
                  <a:lnTo>
                    <a:pt x="222293" y="392642"/>
                  </a:lnTo>
                  <a:lnTo>
                    <a:pt x="157922" y="392642"/>
                  </a:lnTo>
                  <a:lnTo>
                    <a:pt x="157922" y="226495"/>
                  </a:lnTo>
                  <a:lnTo>
                    <a:pt x="-221" y="-102"/>
                  </a:lnTo>
                  <a:lnTo>
                    <a:pt x="75563" y="-102"/>
                  </a:lnTo>
                  <a:lnTo>
                    <a:pt x="160003" y="126665"/>
                  </a:lnTo>
                  <a:cubicBezTo>
                    <a:pt x="166691" y="136569"/>
                    <a:pt x="172806" y="145894"/>
                    <a:pt x="178346" y="154647"/>
                  </a:cubicBezTo>
                  <a:cubicBezTo>
                    <a:pt x="183538" y="162782"/>
                    <a:pt x="188274" y="171204"/>
                    <a:pt x="192532" y="179862"/>
                  </a:cubicBezTo>
                  <a:cubicBezTo>
                    <a:pt x="196053" y="172198"/>
                    <a:pt x="200041" y="164759"/>
                    <a:pt x="204474" y="157578"/>
                  </a:cubicBezTo>
                  <a:cubicBezTo>
                    <a:pt x="209429" y="149409"/>
                    <a:pt x="216291" y="138876"/>
                    <a:pt x="225061" y="125975"/>
                  </a:cubicBezTo>
                  <a:lnTo>
                    <a:pt x="311577" y="-102"/>
                  </a:lnTo>
                  <a:close/>
                </a:path>
              </a:pathLst>
            </a:custGeom>
            <a:solidFill>
              <a:srgbClr val="FFFFFF"/>
            </a:solidFill>
            <a:ln w="561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C8E0860-FA8E-4BF7-93EB-374FB6C1AB5F}"/>
                </a:ext>
              </a:extLst>
            </p:cNvPr>
            <p:cNvSpPr/>
            <p:nvPr/>
          </p:nvSpPr>
          <p:spPr>
            <a:xfrm>
              <a:off x="5142000" y="3161420"/>
              <a:ext cx="418119" cy="533811"/>
            </a:xfrm>
            <a:custGeom>
              <a:avLst/>
              <a:gdLst>
                <a:gd name="connsiteX0" fmla="*/ 94772 w 418119"/>
                <a:gd name="connsiteY0" fmla="*/ 300779 h 533811"/>
                <a:gd name="connsiteX1" fmla="*/ 94772 w 418119"/>
                <a:gd name="connsiteY1" fmla="*/ 533709 h 533811"/>
                <a:gd name="connsiteX2" fmla="*/ -221 w 418119"/>
                <a:gd name="connsiteY2" fmla="*/ 533709 h 533811"/>
                <a:gd name="connsiteX3" fmla="*/ -221 w 418119"/>
                <a:gd name="connsiteY3" fmla="*/ -102 h 533811"/>
                <a:gd name="connsiteX4" fmla="*/ 94772 w 418119"/>
                <a:gd name="connsiteY4" fmla="*/ -102 h 533811"/>
                <a:gd name="connsiteX5" fmla="*/ 94772 w 418119"/>
                <a:gd name="connsiteY5" fmla="*/ 217175 h 533811"/>
                <a:gd name="connsiteX6" fmla="*/ 322911 w 418119"/>
                <a:gd name="connsiteY6" fmla="*/ 217175 h 533811"/>
                <a:gd name="connsiteX7" fmla="*/ 322911 w 418119"/>
                <a:gd name="connsiteY7" fmla="*/ -102 h 533811"/>
                <a:gd name="connsiteX8" fmla="*/ 417898 w 418119"/>
                <a:gd name="connsiteY8" fmla="*/ -102 h 533811"/>
                <a:gd name="connsiteX9" fmla="*/ 417898 w 418119"/>
                <a:gd name="connsiteY9" fmla="*/ 533709 h 533811"/>
                <a:gd name="connsiteX10" fmla="*/ 322911 w 418119"/>
                <a:gd name="connsiteY10" fmla="*/ 533709 h 533811"/>
                <a:gd name="connsiteX11" fmla="*/ 322911 w 418119"/>
                <a:gd name="connsiteY11" fmla="*/ 300779 h 533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119" h="533811">
                  <a:moveTo>
                    <a:pt x="94772" y="300779"/>
                  </a:moveTo>
                  <a:lnTo>
                    <a:pt x="94772" y="533709"/>
                  </a:lnTo>
                  <a:lnTo>
                    <a:pt x="-221" y="533709"/>
                  </a:lnTo>
                  <a:lnTo>
                    <a:pt x="-221" y="-102"/>
                  </a:lnTo>
                  <a:lnTo>
                    <a:pt x="94772" y="-102"/>
                  </a:lnTo>
                  <a:lnTo>
                    <a:pt x="94772" y="217175"/>
                  </a:lnTo>
                  <a:lnTo>
                    <a:pt x="322911" y="217175"/>
                  </a:lnTo>
                  <a:lnTo>
                    <a:pt x="322911" y="-102"/>
                  </a:lnTo>
                  <a:lnTo>
                    <a:pt x="417898" y="-102"/>
                  </a:lnTo>
                  <a:lnTo>
                    <a:pt x="417898" y="533709"/>
                  </a:lnTo>
                  <a:lnTo>
                    <a:pt x="322911" y="533709"/>
                  </a:lnTo>
                  <a:lnTo>
                    <a:pt x="322911" y="300779"/>
                  </a:lnTo>
                  <a:close/>
                </a:path>
              </a:pathLst>
            </a:custGeom>
            <a:solidFill>
              <a:srgbClr val="FFFFFF"/>
            </a:solidFill>
            <a:ln w="561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31296CBA-3CA9-4FAD-A2F8-7E4F89FD1718}"/>
                </a:ext>
              </a:extLst>
            </p:cNvPr>
            <p:cNvSpPr/>
            <p:nvPr/>
          </p:nvSpPr>
          <p:spPr>
            <a:xfrm>
              <a:off x="5596005" y="3303263"/>
              <a:ext cx="389708" cy="526361"/>
            </a:xfrm>
            <a:custGeom>
              <a:avLst/>
              <a:gdLst>
                <a:gd name="connsiteX0" fmla="*/ 86571 w 389708"/>
                <a:gd name="connsiteY0" fmla="*/ 526259 h 526361"/>
                <a:gd name="connsiteX1" fmla="*/ 147882 w 389708"/>
                <a:gd name="connsiteY1" fmla="*/ 381407 h 526361"/>
                <a:gd name="connsiteX2" fmla="*/ -221 w 389708"/>
                <a:gd name="connsiteY2" fmla="*/ -102 h 526361"/>
                <a:gd name="connsiteX3" fmla="*/ 100014 w 389708"/>
                <a:gd name="connsiteY3" fmla="*/ -102 h 526361"/>
                <a:gd name="connsiteX4" fmla="*/ 195755 w 389708"/>
                <a:gd name="connsiteY4" fmla="*/ 279871 h 526361"/>
                <a:gd name="connsiteX5" fmla="*/ 291501 w 389708"/>
                <a:gd name="connsiteY5" fmla="*/ -102 h 526361"/>
                <a:gd name="connsiteX6" fmla="*/ 389487 w 389708"/>
                <a:gd name="connsiteY6" fmla="*/ -102 h 526361"/>
                <a:gd name="connsiteX7" fmla="*/ 179302 w 389708"/>
                <a:gd name="connsiteY7" fmla="*/ 526247 h 52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708" h="526361">
                  <a:moveTo>
                    <a:pt x="86571" y="526259"/>
                  </a:moveTo>
                  <a:lnTo>
                    <a:pt x="147882" y="381407"/>
                  </a:lnTo>
                  <a:cubicBezTo>
                    <a:pt x="103001" y="262696"/>
                    <a:pt x="48400" y="123083"/>
                    <a:pt x="-221" y="-102"/>
                  </a:cubicBezTo>
                  <a:lnTo>
                    <a:pt x="100014" y="-102"/>
                  </a:lnTo>
                  <a:cubicBezTo>
                    <a:pt x="143399" y="124577"/>
                    <a:pt x="168075" y="202970"/>
                    <a:pt x="195755" y="279871"/>
                  </a:cubicBezTo>
                  <a:cubicBezTo>
                    <a:pt x="219694" y="214912"/>
                    <a:pt x="259316" y="92474"/>
                    <a:pt x="291501" y="-102"/>
                  </a:cubicBezTo>
                  <a:lnTo>
                    <a:pt x="389487" y="-102"/>
                  </a:lnTo>
                  <a:cubicBezTo>
                    <a:pt x="320672" y="173107"/>
                    <a:pt x="252606" y="347064"/>
                    <a:pt x="179302" y="526247"/>
                  </a:cubicBezTo>
                  <a:close/>
                </a:path>
              </a:pathLst>
            </a:custGeom>
            <a:solidFill>
              <a:srgbClr val="FFFFFF"/>
            </a:solidFill>
            <a:ln w="561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19716990-9992-4A0C-BE51-F3628B108726}"/>
                </a:ext>
              </a:extLst>
            </p:cNvPr>
            <p:cNvSpPr/>
            <p:nvPr/>
          </p:nvSpPr>
          <p:spPr>
            <a:xfrm>
              <a:off x="5975257" y="3161420"/>
              <a:ext cx="402414" cy="542771"/>
            </a:xfrm>
            <a:custGeom>
              <a:avLst/>
              <a:gdLst>
                <a:gd name="connsiteX0" fmla="*/ 316172 w 402414"/>
                <a:gd name="connsiteY0" fmla="*/ 533709 h 542771"/>
                <a:gd name="connsiteX1" fmla="*/ 316172 w 402414"/>
                <a:gd name="connsiteY1" fmla="*/ 478463 h 542771"/>
                <a:gd name="connsiteX2" fmla="*/ 180793 w 402414"/>
                <a:gd name="connsiteY2" fmla="*/ 542670 h 542771"/>
                <a:gd name="connsiteX3" fmla="*/ -221 w 402414"/>
                <a:gd name="connsiteY3" fmla="*/ 336621 h 542771"/>
                <a:gd name="connsiteX4" fmla="*/ 183031 w 402414"/>
                <a:gd name="connsiteY4" fmla="*/ 129068 h 542771"/>
                <a:gd name="connsiteX5" fmla="*/ 311689 w 402414"/>
                <a:gd name="connsiteY5" fmla="*/ 191781 h 542771"/>
                <a:gd name="connsiteX6" fmla="*/ 310941 w 402414"/>
                <a:gd name="connsiteY6" fmla="*/ 114140 h 542771"/>
                <a:gd name="connsiteX7" fmla="*/ 310941 w 402414"/>
                <a:gd name="connsiteY7" fmla="*/ -102 h 542771"/>
                <a:gd name="connsiteX8" fmla="*/ 402193 w 402414"/>
                <a:gd name="connsiteY8" fmla="*/ -102 h 542771"/>
                <a:gd name="connsiteX9" fmla="*/ 402193 w 402414"/>
                <a:gd name="connsiteY9" fmla="*/ 533709 h 542771"/>
                <a:gd name="connsiteX10" fmla="*/ 93275 w 402414"/>
                <a:gd name="connsiteY10" fmla="*/ 338103 h 542771"/>
                <a:gd name="connsiteX11" fmla="*/ 201734 w 402414"/>
                <a:gd name="connsiteY11" fmla="*/ 468756 h 542771"/>
                <a:gd name="connsiteX12" fmla="*/ 315424 w 402414"/>
                <a:gd name="connsiteY12" fmla="*/ 335133 h 542771"/>
                <a:gd name="connsiteX13" fmla="*/ 202482 w 402414"/>
                <a:gd name="connsiteY13" fmla="*/ 204481 h 542771"/>
                <a:gd name="connsiteX14" fmla="*/ 93275 w 402414"/>
                <a:gd name="connsiteY14" fmla="*/ 338103 h 54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414" h="542771">
                  <a:moveTo>
                    <a:pt x="316172" y="533709"/>
                  </a:moveTo>
                  <a:lnTo>
                    <a:pt x="316172" y="478463"/>
                  </a:lnTo>
                  <a:cubicBezTo>
                    <a:pt x="293735" y="512807"/>
                    <a:pt x="248111" y="542670"/>
                    <a:pt x="180793" y="542670"/>
                  </a:cubicBezTo>
                  <a:cubicBezTo>
                    <a:pt x="73825" y="542670"/>
                    <a:pt x="-221" y="459054"/>
                    <a:pt x="-221" y="336621"/>
                  </a:cubicBezTo>
                  <a:cubicBezTo>
                    <a:pt x="-221" y="217916"/>
                    <a:pt x="70838" y="129068"/>
                    <a:pt x="183031" y="129068"/>
                  </a:cubicBezTo>
                  <a:cubicBezTo>
                    <a:pt x="245113" y="129068"/>
                    <a:pt x="290000" y="159678"/>
                    <a:pt x="311689" y="191781"/>
                  </a:cubicBezTo>
                  <a:cubicBezTo>
                    <a:pt x="310941" y="164158"/>
                    <a:pt x="310941" y="141016"/>
                    <a:pt x="310941" y="114140"/>
                  </a:cubicBezTo>
                  <a:lnTo>
                    <a:pt x="310941" y="-102"/>
                  </a:lnTo>
                  <a:lnTo>
                    <a:pt x="402193" y="-102"/>
                  </a:lnTo>
                  <a:lnTo>
                    <a:pt x="402193" y="533709"/>
                  </a:lnTo>
                  <a:close/>
                  <a:moveTo>
                    <a:pt x="93275" y="338103"/>
                  </a:moveTo>
                  <a:cubicBezTo>
                    <a:pt x="93275" y="412775"/>
                    <a:pt x="133668" y="468756"/>
                    <a:pt x="201734" y="468756"/>
                  </a:cubicBezTo>
                  <a:cubicBezTo>
                    <a:pt x="272793" y="468756"/>
                    <a:pt x="315424" y="412017"/>
                    <a:pt x="315424" y="335133"/>
                  </a:cubicBezTo>
                  <a:cubicBezTo>
                    <a:pt x="315424" y="259726"/>
                    <a:pt x="268305" y="204481"/>
                    <a:pt x="202482" y="204481"/>
                  </a:cubicBezTo>
                  <a:cubicBezTo>
                    <a:pt x="133668" y="204464"/>
                    <a:pt x="93275" y="263443"/>
                    <a:pt x="93275" y="338103"/>
                  </a:cubicBezTo>
                  <a:close/>
                </a:path>
              </a:pathLst>
            </a:custGeom>
            <a:solidFill>
              <a:srgbClr val="FFFFFF"/>
            </a:solidFill>
            <a:ln w="561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B48B993C-B567-4B58-9D2D-8AB00CAF7CC9}"/>
                </a:ext>
              </a:extLst>
            </p:cNvPr>
            <p:cNvSpPr/>
            <p:nvPr/>
          </p:nvSpPr>
          <p:spPr>
            <a:xfrm>
              <a:off x="6436018" y="3293564"/>
              <a:ext cx="201955" cy="401644"/>
            </a:xfrm>
            <a:custGeom>
              <a:avLst/>
              <a:gdLst>
                <a:gd name="connsiteX0" fmla="*/ 85794 w 201955"/>
                <a:gd name="connsiteY0" fmla="*/ 8860 h 401644"/>
                <a:gd name="connsiteX1" fmla="*/ 85794 w 201955"/>
                <a:gd name="connsiteY1" fmla="*/ 35736 h 401644"/>
                <a:gd name="connsiteX2" fmla="*/ 85052 w 201955"/>
                <a:gd name="connsiteY2" fmla="*/ 61866 h 401644"/>
                <a:gd name="connsiteX3" fmla="*/ 180044 w 201955"/>
                <a:gd name="connsiteY3" fmla="*/ -100 h 401644"/>
                <a:gd name="connsiteX4" fmla="*/ 201734 w 201955"/>
                <a:gd name="connsiteY4" fmla="*/ 1393 h 401644"/>
                <a:gd name="connsiteX5" fmla="*/ 201734 w 201955"/>
                <a:gd name="connsiteY5" fmla="*/ 88001 h 401644"/>
                <a:gd name="connsiteX6" fmla="*/ 175556 w 201955"/>
                <a:gd name="connsiteY6" fmla="*/ 85014 h 401644"/>
                <a:gd name="connsiteX7" fmla="*/ 91779 w 201955"/>
                <a:gd name="connsiteY7" fmla="*/ 216391 h 401644"/>
                <a:gd name="connsiteX8" fmla="*/ 91779 w 201955"/>
                <a:gd name="connsiteY8" fmla="*/ 401543 h 401644"/>
                <a:gd name="connsiteX9" fmla="*/ 527 w 201955"/>
                <a:gd name="connsiteY9" fmla="*/ 401543 h 401644"/>
                <a:gd name="connsiteX10" fmla="*/ 527 w 201955"/>
                <a:gd name="connsiteY10" fmla="*/ 79787 h 401644"/>
                <a:gd name="connsiteX11" fmla="*/ -221 w 201955"/>
                <a:gd name="connsiteY11" fmla="*/ 8860 h 401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955" h="401644">
                  <a:moveTo>
                    <a:pt x="85794" y="8860"/>
                  </a:moveTo>
                  <a:lnTo>
                    <a:pt x="85794" y="35736"/>
                  </a:lnTo>
                  <a:cubicBezTo>
                    <a:pt x="85794" y="44720"/>
                    <a:pt x="85794" y="53652"/>
                    <a:pt x="85052" y="61866"/>
                  </a:cubicBezTo>
                  <a:cubicBezTo>
                    <a:pt x="98512" y="22301"/>
                    <a:pt x="135164" y="-100"/>
                    <a:pt x="180044" y="-100"/>
                  </a:cubicBezTo>
                  <a:cubicBezTo>
                    <a:pt x="187301" y="-140"/>
                    <a:pt x="194551" y="360"/>
                    <a:pt x="201734" y="1393"/>
                  </a:cubicBezTo>
                  <a:lnTo>
                    <a:pt x="201734" y="88001"/>
                  </a:lnTo>
                  <a:cubicBezTo>
                    <a:pt x="193195" y="85772"/>
                    <a:pt x="184381" y="84767"/>
                    <a:pt x="175556" y="85014"/>
                  </a:cubicBezTo>
                  <a:cubicBezTo>
                    <a:pt x="104497" y="85014"/>
                    <a:pt x="91779" y="135779"/>
                    <a:pt x="91779" y="216391"/>
                  </a:cubicBezTo>
                  <a:lnTo>
                    <a:pt x="91779" y="401543"/>
                  </a:lnTo>
                  <a:lnTo>
                    <a:pt x="527" y="401543"/>
                  </a:lnTo>
                  <a:lnTo>
                    <a:pt x="527" y="79787"/>
                  </a:lnTo>
                  <a:cubicBezTo>
                    <a:pt x="527" y="55151"/>
                    <a:pt x="527" y="32750"/>
                    <a:pt x="-221" y="8860"/>
                  </a:cubicBezTo>
                  <a:close/>
                </a:path>
              </a:pathLst>
            </a:custGeom>
            <a:solidFill>
              <a:srgbClr val="FFFFFF"/>
            </a:solidFill>
            <a:ln w="561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AA0482B-F873-4771-A3BB-96F021D95D57}"/>
                </a:ext>
              </a:extLst>
            </p:cNvPr>
            <p:cNvSpPr/>
            <p:nvPr/>
          </p:nvSpPr>
          <p:spPr>
            <a:xfrm>
              <a:off x="6644701" y="3289833"/>
              <a:ext cx="410643" cy="417346"/>
            </a:xfrm>
            <a:custGeom>
              <a:avLst/>
              <a:gdLst>
                <a:gd name="connsiteX0" fmla="*/ 410422 w 410643"/>
                <a:gd name="connsiteY0" fmla="*/ 209691 h 417346"/>
                <a:gd name="connsiteX1" fmla="*/ 203231 w 410643"/>
                <a:gd name="connsiteY1" fmla="*/ 417244 h 417346"/>
                <a:gd name="connsiteX2" fmla="*/ -221 w 410643"/>
                <a:gd name="connsiteY2" fmla="*/ 209691 h 417346"/>
                <a:gd name="connsiteX3" fmla="*/ 204727 w 410643"/>
                <a:gd name="connsiteY3" fmla="*/ -102 h 417346"/>
                <a:gd name="connsiteX4" fmla="*/ 410422 w 410643"/>
                <a:gd name="connsiteY4" fmla="*/ 209691 h 417346"/>
                <a:gd name="connsiteX5" fmla="*/ 93275 w 410643"/>
                <a:gd name="connsiteY5" fmla="*/ 208944 h 417346"/>
                <a:gd name="connsiteX6" fmla="*/ 203231 w 410643"/>
                <a:gd name="connsiteY6" fmla="*/ 341096 h 417346"/>
                <a:gd name="connsiteX7" fmla="*/ 313928 w 410643"/>
                <a:gd name="connsiteY7" fmla="*/ 208944 h 417346"/>
                <a:gd name="connsiteX8" fmla="*/ 203231 w 410643"/>
                <a:gd name="connsiteY8" fmla="*/ 76051 h 417346"/>
                <a:gd name="connsiteX9" fmla="*/ 93275 w 410643"/>
                <a:gd name="connsiteY9" fmla="*/ 208944 h 41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643" h="417346">
                  <a:moveTo>
                    <a:pt x="410422" y="209691"/>
                  </a:moveTo>
                  <a:cubicBezTo>
                    <a:pt x="410422" y="330642"/>
                    <a:pt x="330386" y="417244"/>
                    <a:pt x="203231" y="417244"/>
                  </a:cubicBezTo>
                  <a:cubicBezTo>
                    <a:pt x="76817" y="417244"/>
                    <a:pt x="-221" y="329895"/>
                    <a:pt x="-221" y="209691"/>
                  </a:cubicBezTo>
                  <a:cubicBezTo>
                    <a:pt x="-221" y="86505"/>
                    <a:pt x="81306" y="-102"/>
                    <a:pt x="204727" y="-102"/>
                  </a:cubicBezTo>
                  <a:cubicBezTo>
                    <a:pt x="328890" y="-102"/>
                    <a:pt x="410422" y="86505"/>
                    <a:pt x="410422" y="209691"/>
                  </a:cubicBezTo>
                  <a:close/>
                  <a:moveTo>
                    <a:pt x="93275" y="208944"/>
                  </a:moveTo>
                  <a:cubicBezTo>
                    <a:pt x="93275" y="288831"/>
                    <a:pt x="134416" y="341096"/>
                    <a:pt x="203231" y="341096"/>
                  </a:cubicBezTo>
                  <a:cubicBezTo>
                    <a:pt x="272793" y="341096"/>
                    <a:pt x="313928" y="288831"/>
                    <a:pt x="313928" y="208944"/>
                  </a:cubicBezTo>
                  <a:cubicBezTo>
                    <a:pt x="313928" y="131297"/>
                    <a:pt x="272045" y="76051"/>
                    <a:pt x="203231" y="76051"/>
                  </a:cubicBezTo>
                  <a:cubicBezTo>
                    <a:pt x="135158" y="76051"/>
                    <a:pt x="93275" y="131297"/>
                    <a:pt x="93275" y="208944"/>
                  </a:cubicBezTo>
                  <a:close/>
                </a:path>
              </a:pathLst>
            </a:custGeom>
            <a:solidFill>
              <a:srgbClr val="FFFFFF"/>
            </a:solidFill>
            <a:ln w="561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E72EE61-5149-4B7C-845E-3522B5939AFF}"/>
                </a:ext>
              </a:extLst>
            </p:cNvPr>
            <p:cNvSpPr/>
            <p:nvPr/>
          </p:nvSpPr>
          <p:spPr>
            <a:xfrm>
              <a:off x="5596889" y="1919841"/>
              <a:ext cx="1003583" cy="1001720"/>
            </a:xfrm>
            <a:custGeom>
              <a:avLst/>
              <a:gdLst>
                <a:gd name="connsiteX0" fmla="*/ 501562 w 1003583"/>
                <a:gd name="connsiteY0" fmla="*/ -102 h 1001720"/>
                <a:gd name="connsiteX1" fmla="*/ 25445 w 1003583"/>
                <a:gd name="connsiteY1" fmla="*/ -102 h 1001720"/>
                <a:gd name="connsiteX2" fmla="*/ 156 w 1003583"/>
                <a:gd name="connsiteY2" fmla="*/ 25898 h 1001720"/>
                <a:gd name="connsiteX3" fmla="*/ 25445 w 1003583"/>
                <a:gd name="connsiteY3" fmla="*/ 51140 h 1001720"/>
                <a:gd name="connsiteX4" fmla="*/ 474310 w 1003583"/>
                <a:gd name="connsiteY4" fmla="*/ 502347 h 1001720"/>
                <a:gd name="connsiteX5" fmla="*/ 25445 w 1003583"/>
                <a:gd name="connsiteY5" fmla="*/ 950381 h 1001720"/>
                <a:gd name="connsiteX6" fmla="*/ -221 w 1003583"/>
                <a:gd name="connsiteY6" fmla="*/ 976000 h 1001720"/>
                <a:gd name="connsiteX7" fmla="*/ 25445 w 1003583"/>
                <a:gd name="connsiteY7" fmla="*/ 1001618 h 1001720"/>
                <a:gd name="connsiteX8" fmla="*/ 501568 w 1003583"/>
                <a:gd name="connsiteY8" fmla="*/ 1001618 h 1001720"/>
                <a:gd name="connsiteX9" fmla="*/ 1003363 w 1003583"/>
                <a:gd name="connsiteY9" fmla="*/ 500758 h 1001720"/>
                <a:gd name="connsiteX10" fmla="*/ 501568 w 1003583"/>
                <a:gd name="connsiteY10" fmla="*/ -102 h 1001720"/>
                <a:gd name="connsiteX11" fmla="*/ 417110 w 1003583"/>
                <a:gd name="connsiteY11" fmla="*/ 944161 h 1001720"/>
                <a:gd name="connsiteX12" fmla="*/ 628707 w 1003583"/>
                <a:gd name="connsiteY12" fmla="*/ 268558 h 1001720"/>
                <a:gd name="connsiteX13" fmla="*/ 417110 w 1003583"/>
                <a:gd name="connsiteY13" fmla="*/ 57355 h 1001720"/>
                <a:gd name="connsiteX14" fmla="*/ 787176 w 1003583"/>
                <a:gd name="connsiteY14" fmla="*/ 574784 h 1001720"/>
                <a:gd name="connsiteX15" fmla="*/ 417110 w 1003583"/>
                <a:gd name="connsiteY15" fmla="*/ 944161 h 1001720"/>
                <a:gd name="connsiteX16" fmla="*/ 527234 w 1003583"/>
                <a:gd name="connsiteY16" fmla="*/ 500758 h 1001720"/>
                <a:gd name="connsiteX17" fmla="*/ 258624 w 1003583"/>
                <a:gd name="connsiteY17" fmla="*/ 57395 h 1001720"/>
                <a:gd name="connsiteX18" fmla="*/ 628414 w 1003583"/>
                <a:gd name="connsiteY18" fmla="*/ 575020 h 1001720"/>
                <a:gd name="connsiteX19" fmla="*/ 258624 w 1003583"/>
                <a:gd name="connsiteY19" fmla="*/ 944121 h 1001720"/>
                <a:gd name="connsiteX20" fmla="*/ 527234 w 1003583"/>
                <a:gd name="connsiteY20" fmla="*/ 500758 h 1001720"/>
                <a:gd name="connsiteX21" fmla="*/ 575816 w 1003583"/>
                <a:gd name="connsiteY21" fmla="*/ 944161 h 1001720"/>
                <a:gd name="connsiteX22" fmla="*/ 787424 w 1003583"/>
                <a:gd name="connsiteY22" fmla="*/ 268569 h 1001720"/>
                <a:gd name="connsiteX23" fmla="*/ 575816 w 1003583"/>
                <a:gd name="connsiteY23" fmla="*/ 57355 h 1001720"/>
                <a:gd name="connsiteX24" fmla="*/ 945882 w 1003583"/>
                <a:gd name="connsiteY24" fmla="*/ 574784 h 1001720"/>
                <a:gd name="connsiteX25" fmla="*/ 575816 w 1003583"/>
                <a:gd name="connsiteY25" fmla="*/ 944161 h 1001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3583" h="1001720">
                  <a:moveTo>
                    <a:pt x="501562" y="-102"/>
                  </a:moveTo>
                  <a:lnTo>
                    <a:pt x="25445" y="-102"/>
                  </a:lnTo>
                  <a:cubicBezTo>
                    <a:pt x="11270" y="105"/>
                    <a:pt x="-53" y="11750"/>
                    <a:pt x="156" y="25898"/>
                  </a:cubicBezTo>
                  <a:cubicBezTo>
                    <a:pt x="364" y="39754"/>
                    <a:pt x="11563" y="50933"/>
                    <a:pt x="25445" y="51140"/>
                  </a:cubicBezTo>
                  <a:cubicBezTo>
                    <a:pt x="274227" y="52016"/>
                    <a:pt x="475193" y="254033"/>
                    <a:pt x="474310" y="502347"/>
                  </a:cubicBezTo>
                  <a:cubicBezTo>
                    <a:pt x="473438" y="749431"/>
                    <a:pt x="272984" y="949506"/>
                    <a:pt x="25445" y="950381"/>
                  </a:cubicBezTo>
                  <a:cubicBezTo>
                    <a:pt x="11270" y="950381"/>
                    <a:pt x="-221" y="961852"/>
                    <a:pt x="-221" y="976000"/>
                  </a:cubicBezTo>
                  <a:cubicBezTo>
                    <a:pt x="-221" y="990148"/>
                    <a:pt x="11270" y="1001618"/>
                    <a:pt x="25445" y="1001618"/>
                  </a:cubicBezTo>
                  <a:lnTo>
                    <a:pt x="501568" y="1001618"/>
                  </a:lnTo>
                  <a:cubicBezTo>
                    <a:pt x="778700" y="1001618"/>
                    <a:pt x="1003363" y="777374"/>
                    <a:pt x="1003363" y="500758"/>
                  </a:cubicBezTo>
                  <a:cubicBezTo>
                    <a:pt x="1003363" y="224142"/>
                    <a:pt x="778700" y="-102"/>
                    <a:pt x="501568" y="-102"/>
                  </a:cubicBezTo>
                  <a:close/>
                  <a:moveTo>
                    <a:pt x="417110" y="944161"/>
                  </a:moveTo>
                  <a:cubicBezTo>
                    <a:pt x="662450" y="815917"/>
                    <a:pt x="757185" y="513441"/>
                    <a:pt x="628707" y="268558"/>
                  </a:cubicBezTo>
                  <a:cubicBezTo>
                    <a:pt x="581351" y="178301"/>
                    <a:pt x="507536" y="104617"/>
                    <a:pt x="417110" y="57355"/>
                  </a:cubicBezTo>
                  <a:cubicBezTo>
                    <a:pt x="662450" y="98239"/>
                    <a:pt x="828137" y="329895"/>
                    <a:pt x="787176" y="574784"/>
                  </a:cubicBezTo>
                  <a:cubicBezTo>
                    <a:pt x="755503" y="764152"/>
                    <a:pt x="606837" y="912546"/>
                    <a:pt x="417110" y="944161"/>
                  </a:cubicBezTo>
                  <a:close/>
                  <a:moveTo>
                    <a:pt x="527234" y="500758"/>
                  </a:moveTo>
                  <a:cubicBezTo>
                    <a:pt x="527088" y="314663"/>
                    <a:pt x="423669" y="143957"/>
                    <a:pt x="258624" y="57395"/>
                  </a:cubicBezTo>
                  <a:cubicBezTo>
                    <a:pt x="503942" y="98408"/>
                    <a:pt x="669504" y="330153"/>
                    <a:pt x="628414" y="575020"/>
                  </a:cubicBezTo>
                  <a:cubicBezTo>
                    <a:pt x="596673" y="764197"/>
                    <a:pt x="448160" y="912434"/>
                    <a:pt x="258624" y="944121"/>
                  </a:cubicBezTo>
                  <a:cubicBezTo>
                    <a:pt x="423669" y="857559"/>
                    <a:pt x="527088" y="686853"/>
                    <a:pt x="527234" y="500758"/>
                  </a:cubicBezTo>
                  <a:close/>
                  <a:moveTo>
                    <a:pt x="575816" y="944161"/>
                  </a:moveTo>
                  <a:cubicBezTo>
                    <a:pt x="821156" y="815928"/>
                    <a:pt x="915896" y="513452"/>
                    <a:pt x="787424" y="268569"/>
                  </a:cubicBezTo>
                  <a:cubicBezTo>
                    <a:pt x="740068" y="178306"/>
                    <a:pt x="666247" y="104623"/>
                    <a:pt x="575816" y="57355"/>
                  </a:cubicBezTo>
                  <a:cubicBezTo>
                    <a:pt x="821156" y="98239"/>
                    <a:pt x="986842" y="329895"/>
                    <a:pt x="945882" y="574784"/>
                  </a:cubicBezTo>
                  <a:cubicBezTo>
                    <a:pt x="914208" y="764152"/>
                    <a:pt x="765543" y="912546"/>
                    <a:pt x="575816" y="944161"/>
                  </a:cubicBezTo>
                  <a:close/>
                </a:path>
              </a:pathLst>
            </a:custGeom>
            <a:solidFill>
              <a:srgbClr val="FFFFFF"/>
            </a:solidFill>
            <a:ln w="5615" cap="flat">
              <a:noFill/>
              <a:prstDash val="solid"/>
              <a:miter/>
            </a:ln>
          </p:spPr>
          <p:txBody>
            <a:bodyPr rtlCol="0" anchor="ctr"/>
            <a:lstStyle/>
            <a:p>
              <a:endParaRPr lang="en-US"/>
            </a:p>
          </p:txBody>
        </p:sp>
      </p:grpSp>
    </p:spTree>
    <p:extLst>
      <p:ext uri="{BB962C8B-B14F-4D97-AF65-F5344CB8AC3E}">
        <p14:creationId xmlns:p14="http://schemas.microsoft.com/office/powerpoint/2010/main" val="10598581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66976165"/>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Click to edit title</a:t>
            </a:r>
            <a:endParaRPr lang="en-US" noProof="0" dirty="0"/>
          </a:p>
        </p:txBody>
      </p:sp>
      <p:sp>
        <p:nvSpPr>
          <p:cNvPr id="9" name="Picture Placeholder 8"/>
          <p:cNvSpPr>
            <a:spLocks noGrp="1"/>
          </p:cNvSpPr>
          <p:nvPr>
            <p:ph type="pic" sz="quarter" idx="14"/>
          </p:nvPr>
        </p:nvSpPr>
        <p:spPr>
          <a:xfrm>
            <a:off x="695324" y="1196975"/>
            <a:ext cx="10802937" cy="4684713"/>
          </a:xfrm>
        </p:spPr>
        <p:txBody>
          <a:bodyPr/>
          <a:lstStyle/>
          <a:p>
            <a:r>
              <a:rPr lang="pt-BR" noProof="0"/>
              <a:t>Clique no ícone para adicionar uma imagem</a:t>
            </a:r>
            <a:endParaRPr lang="en-US" noProof="0" dirty="0"/>
          </a:p>
        </p:txBody>
      </p:sp>
      <p:sp>
        <p:nvSpPr>
          <p:cNvPr id="7" name="Footer Placeholder 4"/>
          <p:cNvSpPr>
            <a:spLocks noGrp="1"/>
          </p:cNvSpPr>
          <p:nvPr>
            <p:ph type="ftr" sz="quarter" idx="3"/>
          </p:nvPr>
        </p:nvSpPr>
        <p:spPr>
          <a:xfrm>
            <a:off x="1230264" y="6381328"/>
            <a:ext cx="4649836" cy="258423"/>
          </a:xfrm>
          <a:prstGeom prst="rect">
            <a:avLst/>
          </a:prstGeom>
        </p:spPr>
        <p:txBody>
          <a:bodyPr vert="horz" lIns="0" tIns="0" rIns="0" bIns="0" rtlCol="0" anchor="ctr"/>
          <a:lstStyle>
            <a:lvl1pPr algn="l">
              <a:defRPr sz="800">
                <a:solidFill>
                  <a:schemeClr val="tx2"/>
                </a:solidFill>
              </a:defRPr>
            </a:lvl1pPr>
          </a:lstStyle>
          <a:p>
            <a:endParaRPr lang="en-US" noProof="0" dirty="0"/>
          </a:p>
        </p:txBody>
      </p:sp>
      <p:sp>
        <p:nvSpPr>
          <p:cNvPr id="10" name="Slide Number Placeholder 5"/>
          <p:cNvSpPr>
            <a:spLocks noGrp="1"/>
          </p:cNvSpPr>
          <p:nvPr>
            <p:ph type="sldNum" sz="quarter" idx="4"/>
          </p:nvPr>
        </p:nvSpPr>
        <p:spPr>
          <a:xfrm>
            <a:off x="698915" y="6381328"/>
            <a:ext cx="531349" cy="258423"/>
          </a:xfrm>
          <a:prstGeom prst="rect">
            <a:avLst/>
          </a:prstGeom>
        </p:spPr>
        <p:txBody>
          <a:bodyPr vert="horz" lIns="0" tIns="0" rIns="0" bIns="0" rtlCol="0" anchor="ctr"/>
          <a:lstStyle>
            <a:lvl1pPr algn="l">
              <a:defRPr sz="1000">
                <a:solidFill>
                  <a:schemeClr val="tx2"/>
                </a:solidFill>
              </a:defRPr>
            </a:lvl1pPr>
          </a:lstStyle>
          <a:p>
            <a:fld id="{A9207195-2462-45BD-B99E-FC66489894B8}" type="slidenum">
              <a:rPr lang="en-US" noProof="0" smtClean="0"/>
              <a:pPr/>
              <a:t>‹#›</a:t>
            </a:fld>
            <a:endParaRPr lang="en-US" noProof="0" dirty="0"/>
          </a:p>
        </p:txBody>
      </p:sp>
    </p:spTree>
    <p:extLst>
      <p:ext uri="{BB962C8B-B14F-4D97-AF65-F5344CB8AC3E}">
        <p14:creationId xmlns:p14="http://schemas.microsoft.com/office/powerpoint/2010/main" val="411971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Gener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79481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Baux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839291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Energ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28574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Batteri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881866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rimar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919715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Roll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489801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Extr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002908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468510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Light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811160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Aluminium">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401788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11299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tx2"/>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tx2"/>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687821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3442420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2748071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Renewabl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170660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slide Aluminium">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bg1"/>
                </a:solidFill>
                <a:latin typeface="+mj-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bg1"/>
                </a:solidFill>
                <a:latin typeface="+mj-lt"/>
              </a:defRPr>
            </a:lvl1pPr>
          </a:lstStyle>
          <a:p>
            <a:pPr lvl="0"/>
            <a:r>
              <a:rPr lang="en-US" noProof="0"/>
              <a:t>00</a:t>
            </a:r>
          </a:p>
        </p:txBody>
      </p:sp>
    </p:spTree>
    <p:extLst>
      <p:ext uri="{BB962C8B-B14F-4D97-AF65-F5344CB8AC3E}">
        <p14:creationId xmlns:p14="http://schemas.microsoft.com/office/powerpoint/2010/main" val="17723888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slide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05A50-DB80-472A-B7ED-47918CD6A853}"/>
              </a:ext>
            </a:extLst>
          </p:cNvPr>
          <p:cNvSpPr>
            <a:spLocks noGrp="1"/>
          </p:cNvSpPr>
          <p:nvPr>
            <p:ph type="title"/>
          </p:nvPr>
        </p:nvSpPr>
        <p:spPr>
          <a:xfrm>
            <a:off x="4734077" y="2570205"/>
            <a:ext cx="6594218" cy="3015049"/>
          </a:xfrm>
        </p:spPr>
        <p:txBody>
          <a:bodyPr anchor="t"/>
          <a:lstStyle>
            <a:lvl1pPr>
              <a:defRPr sz="6200" b="0">
                <a:solidFill>
                  <a:schemeClr val="tx2"/>
                </a:solidFill>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2895E6F6-F470-4C3A-AD36-3E7750F55F5D}"/>
              </a:ext>
            </a:extLst>
          </p:cNvPr>
          <p:cNvSpPr>
            <a:spLocks noGrp="1"/>
          </p:cNvSpPr>
          <p:nvPr>
            <p:ph type="body" idx="1"/>
          </p:nvPr>
        </p:nvSpPr>
        <p:spPr>
          <a:xfrm>
            <a:off x="4734076" y="5696675"/>
            <a:ext cx="6594219" cy="720000"/>
          </a:xfrm>
        </p:spPr>
        <p:txBody>
          <a:bodyPr anchor="b"/>
          <a:lstStyle>
            <a:lvl1pPr marL="0" indent="0">
              <a:buNone/>
              <a:defRPr sz="16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 Placeholder 9">
            <a:extLst>
              <a:ext uri="{FF2B5EF4-FFF2-40B4-BE49-F238E27FC236}">
                <a16:creationId xmlns:a16="http://schemas.microsoft.com/office/drawing/2014/main" id="{5CF05C15-A202-4A42-9F92-8C6D7090A4A2}"/>
              </a:ext>
            </a:extLst>
          </p:cNvPr>
          <p:cNvSpPr>
            <a:spLocks noGrp="1"/>
          </p:cNvSpPr>
          <p:nvPr>
            <p:ph type="body" sz="quarter" idx="10" hasCustomPrompt="1"/>
          </p:nvPr>
        </p:nvSpPr>
        <p:spPr>
          <a:xfrm>
            <a:off x="479425" y="2570205"/>
            <a:ext cx="1785980" cy="930876"/>
          </a:xfrm>
        </p:spPr>
        <p:txBody>
          <a:bodyPr/>
          <a:lstStyle>
            <a:lvl1pPr marL="0" indent="0">
              <a:buNone/>
              <a:defRPr sz="6200" b="0">
                <a:solidFill>
                  <a:schemeClr val="tx2"/>
                </a:solidFill>
                <a:latin typeface="+mj-lt"/>
              </a:defRPr>
            </a:lvl1pPr>
          </a:lstStyle>
          <a:p>
            <a:pPr lvl="0"/>
            <a:r>
              <a:rPr lang="en-US" noProof="0"/>
              <a:t>00</a:t>
            </a:r>
          </a:p>
        </p:txBody>
      </p:sp>
    </p:spTree>
    <p:extLst>
      <p:ext uri="{BB962C8B-B14F-4D97-AF65-F5344CB8AC3E}">
        <p14:creationId xmlns:p14="http://schemas.microsoft.com/office/powerpoint/2010/main" val="27889305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AFB-6B33-49DF-979F-AB87C296E0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BD80E7-6C8E-4D5E-98A7-BB756D1A52A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Date Placeholder 6">
            <a:extLst>
              <a:ext uri="{FF2B5EF4-FFF2-40B4-BE49-F238E27FC236}">
                <a16:creationId xmlns:a16="http://schemas.microsoft.com/office/drawing/2014/main" id="{F4891101-3C1C-4849-B694-1674691EF169}"/>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2D12EEBD-1E98-4113-A6A2-AD4A240D3C27}"/>
              </a:ext>
            </a:extLst>
          </p:cNvPr>
          <p:cNvSpPr>
            <a:spLocks noGrp="1"/>
          </p:cNvSpPr>
          <p:nvPr>
            <p:ph type="ftr" sz="quarter" idx="11"/>
          </p:nvPr>
        </p:nvSpPr>
        <p:spPr/>
        <p:txBody>
          <a:bodyPr/>
          <a:lstStyle/>
          <a:p>
            <a:r>
              <a:rPr lang="en-GB"/>
              <a:t>Version 1</a:t>
            </a:r>
          </a:p>
        </p:txBody>
      </p:sp>
      <p:sp>
        <p:nvSpPr>
          <p:cNvPr id="9" name="Slide Number Placeholder 8">
            <a:extLst>
              <a:ext uri="{FF2B5EF4-FFF2-40B4-BE49-F238E27FC236}">
                <a16:creationId xmlns:a16="http://schemas.microsoft.com/office/drawing/2014/main" id="{BCC24607-BCE5-46D7-8B24-8D98CAC5FA2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C93C7F9E-972C-48C9-9FE1-5AE34014CE25}"/>
              </a:ext>
            </a:extLst>
          </p:cNvPr>
          <p:cNvSpPr>
            <a:spLocks noGrp="1"/>
          </p:cNvSpPr>
          <p:nvPr>
            <p:ph type="body" sz="quarter" idx="13"/>
          </p:nvPr>
        </p:nvSpPr>
        <p:spPr>
          <a:xfrm>
            <a:off x="479425" y="981075"/>
            <a:ext cx="9200035"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10" name="Text Placeholder 5">
            <a:extLst>
              <a:ext uri="{FF2B5EF4-FFF2-40B4-BE49-F238E27FC236}">
                <a16:creationId xmlns:a16="http://schemas.microsoft.com/office/drawing/2014/main" id="{21623934-660F-4E16-AC62-252CCB4F888D}"/>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4786672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389EEA52-34E8-42F8-BF23-5FA4DB3D1304}"/>
              </a:ext>
            </a:extLst>
          </p:cNvPr>
          <p:cNvSpPr>
            <a:spLocks noGrp="1"/>
          </p:cNvSpPr>
          <p:nvPr>
            <p:ph sz="half" idx="2"/>
          </p:nvPr>
        </p:nvSpPr>
        <p:spPr>
          <a:xfrm>
            <a:off x="6348413" y="1989138"/>
            <a:ext cx="5364163" cy="4176713"/>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479425" y="981075"/>
            <a:ext cx="9200035"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12" name="Text Placeholder 5">
            <a:extLst>
              <a:ext uri="{FF2B5EF4-FFF2-40B4-BE49-F238E27FC236}">
                <a16:creationId xmlns:a16="http://schemas.microsoft.com/office/drawing/2014/main" id="{A7E5ECD9-1EE3-4EBB-989F-4832BA46968B}"/>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1515298703"/>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5" y="1989138"/>
            <a:ext cx="3421064"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389EEA52-34E8-42F8-BF23-5FA4DB3D1304}"/>
              </a:ext>
            </a:extLst>
          </p:cNvPr>
          <p:cNvSpPr>
            <a:spLocks noGrp="1"/>
          </p:cNvSpPr>
          <p:nvPr>
            <p:ph sz="half" idx="2"/>
          </p:nvPr>
        </p:nvSpPr>
        <p:spPr>
          <a:xfrm>
            <a:off x="4403725" y="1989138"/>
            <a:ext cx="3384550" cy="4176713"/>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479425" y="981075"/>
            <a:ext cx="9200035"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12" name="Text Placeholder 5">
            <a:extLst>
              <a:ext uri="{FF2B5EF4-FFF2-40B4-BE49-F238E27FC236}">
                <a16:creationId xmlns:a16="http://schemas.microsoft.com/office/drawing/2014/main" id="{A7E5ECD9-1EE3-4EBB-989F-4832BA46968B}"/>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17" name="Content Placeholder 3">
            <a:extLst>
              <a:ext uri="{FF2B5EF4-FFF2-40B4-BE49-F238E27FC236}">
                <a16:creationId xmlns:a16="http://schemas.microsoft.com/office/drawing/2014/main" id="{BE39D267-9198-47E5-9B35-62F3F9ACD9E5}"/>
              </a:ext>
            </a:extLst>
          </p:cNvPr>
          <p:cNvSpPr>
            <a:spLocks noGrp="1"/>
          </p:cNvSpPr>
          <p:nvPr>
            <p:ph sz="half" idx="15"/>
          </p:nvPr>
        </p:nvSpPr>
        <p:spPr>
          <a:xfrm>
            <a:off x="8291513" y="1989138"/>
            <a:ext cx="3421062" cy="417671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74521560"/>
      </p:ext>
    </p:extLst>
  </p:cSld>
  <p:clrMapOvr>
    <a:masterClrMapping/>
  </p:clrMapOvr>
  <p:extLst>
    <p:ext uri="{DCECCB84-F9BA-43D5-87BE-67443E8EF086}">
      <p15:sldGuideLst xmlns:p15="http://schemas.microsoft.com/office/powerpoint/2012/main">
        <p15:guide id="1" pos="2457">
          <p15:clr>
            <a:srgbClr val="FBAE40"/>
          </p15:clr>
        </p15:guide>
        <p15:guide id="2" pos="2774">
          <p15:clr>
            <a:srgbClr val="FBAE40"/>
          </p15:clr>
        </p15:guide>
        <p15:guide id="3" pos="4906">
          <p15:clr>
            <a:srgbClr val="FBAE40"/>
          </p15:clr>
        </p15:guide>
        <p15:guide id="4" pos="522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a:xfrm>
            <a:off x="479425" y="441325"/>
            <a:ext cx="5364163" cy="46672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479426" y="981075"/>
            <a:ext cx="5364162"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6348413" y="0"/>
            <a:ext cx="5843587" cy="6858000"/>
          </a:xfrm>
        </p:spPr>
        <p:txBody>
          <a:bodyPr/>
          <a:lstStyle/>
          <a:p>
            <a:r>
              <a:rPr lang="en-US"/>
              <a:t>Click icon to add picture</a:t>
            </a:r>
            <a:endParaRPr lang="en-GB"/>
          </a:p>
        </p:txBody>
      </p:sp>
      <p:sp>
        <p:nvSpPr>
          <p:cNvPr id="13" name="Text Placeholder 5">
            <a:extLst>
              <a:ext uri="{FF2B5EF4-FFF2-40B4-BE49-F238E27FC236}">
                <a16:creationId xmlns:a16="http://schemas.microsoft.com/office/drawing/2014/main" id="{D5933ADB-612D-421F-AEFC-C62F887FB551}"/>
              </a:ext>
            </a:extLst>
          </p:cNvPr>
          <p:cNvSpPr>
            <a:spLocks noGrp="1"/>
          </p:cNvSpPr>
          <p:nvPr>
            <p:ph type="body" sz="quarter" idx="15"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249215292"/>
      </p:ext>
    </p:extLst>
  </p:cSld>
  <p:clrMapOvr>
    <a:masterClrMapping/>
  </p:clrMapOvr>
  <p:extLst>
    <p:ext uri="{DCECCB84-F9BA-43D5-87BE-67443E8EF086}">
      <p15:sldGuideLst xmlns:p15="http://schemas.microsoft.com/office/powerpoint/2012/main">
        <p15:guide id="1" pos="3999">
          <p15:clr>
            <a:srgbClr val="FBAE40"/>
          </p15:clr>
        </p15:guide>
        <p15:guide id="2" pos="368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image alterna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a:xfrm>
            <a:off x="6348412" y="441325"/>
            <a:ext cx="5364163" cy="46672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6348411" y="1989138"/>
            <a:ext cx="5364163"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6348413" y="981075"/>
            <a:ext cx="5364162"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1" y="0"/>
            <a:ext cx="5843587" cy="6858000"/>
          </a:xfrm>
        </p:spPr>
        <p:txBody>
          <a:bodyPr/>
          <a:lstStyle/>
          <a:p>
            <a:r>
              <a:rPr lang="en-US"/>
              <a:t>Click icon to add picture</a:t>
            </a:r>
            <a:endParaRPr lang="en-GB"/>
          </a:p>
        </p:txBody>
      </p:sp>
      <p:sp>
        <p:nvSpPr>
          <p:cNvPr id="13" name="Text Placeholder 5">
            <a:extLst>
              <a:ext uri="{FF2B5EF4-FFF2-40B4-BE49-F238E27FC236}">
                <a16:creationId xmlns:a16="http://schemas.microsoft.com/office/drawing/2014/main" id="{D5933ADB-612D-421F-AEFC-C62F887FB551}"/>
              </a:ext>
            </a:extLst>
          </p:cNvPr>
          <p:cNvSpPr>
            <a:spLocks noGrp="1"/>
          </p:cNvSpPr>
          <p:nvPr>
            <p:ph type="body" sz="quarter" idx="15" hasCustomPrompt="1"/>
          </p:nvPr>
        </p:nvSpPr>
        <p:spPr>
          <a:xfrm>
            <a:off x="6348412" y="6165850"/>
            <a:ext cx="454104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2402692272"/>
      </p:ext>
    </p:extLst>
  </p:cSld>
  <p:clrMapOvr>
    <a:masterClrMapping/>
  </p:clrMapOvr>
  <p:extLst>
    <p:ext uri="{DCECCB84-F9BA-43D5-87BE-67443E8EF086}">
      <p15:sldGuideLst xmlns:p15="http://schemas.microsoft.com/office/powerpoint/2012/main">
        <p15:guide id="1" pos="3999">
          <p15:clr>
            <a:srgbClr val="FBAE40"/>
          </p15:clr>
        </p15:guide>
        <p15:guide id="2" pos="368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a:xfrm>
            <a:off x="479425" y="441325"/>
            <a:ext cx="5364163" cy="46672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479424" y="1989138"/>
            <a:ext cx="5364163"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479426" y="981075"/>
            <a:ext cx="5364162"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6348413" y="0"/>
            <a:ext cx="5843587" cy="3429000"/>
          </a:xfrm>
        </p:spPr>
        <p:txBody>
          <a:bodyPr/>
          <a:lstStyle/>
          <a:p>
            <a:r>
              <a:rPr lang="en-US"/>
              <a:t>Click icon to add picture</a:t>
            </a:r>
            <a:endParaRPr lang="en-GB"/>
          </a:p>
        </p:txBody>
      </p:sp>
      <p:sp>
        <p:nvSpPr>
          <p:cNvPr id="12" name="Picture Placeholder 5">
            <a:extLst>
              <a:ext uri="{FF2B5EF4-FFF2-40B4-BE49-F238E27FC236}">
                <a16:creationId xmlns:a16="http://schemas.microsoft.com/office/drawing/2014/main" id="{D9AB13B5-FD33-4E24-9217-209F7DB06B7C}"/>
              </a:ext>
            </a:extLst>
          </p:cNvPr>
          <p:cNvSpPr>
            <a:spLocks noGrp="1"/>
          </p:cNvSpPr>
          <p:nvPr>
            <p:ph type="pic" sz="quarter" idx="15"/>
          </p:nvPr>
        </p:nvSpPr>
        <p:spPr>
          <a:xfrm>
            <a:off x="6348413" y="3429000"/>
            <a:ext cx="5843587" cy="3429000"/>
          </a:xfrm>
        </p:spPr>
        <p:txBody>
          <a:bodyPr/>
          <a:lstStyle/>
          <a:p>
            <a:r>
              <a:rPr lang="en-US"/>
              <a:t>Click icon to add picture</a:t>
            </a:r>
            <a:endParaRPr lang="en-GB"/>
          </a:p>
        </p:txBody>
      </p:sp>
      <p:sp>
        <p:nvSpPr>
          <p:cNvPr id="14" name="Text Placeholder 5">
            <a:extLst>
              <a:ext uri="{FF2B5EF4-FFF2-40B4-BE49-F238E27FC236}">
                <a16:creationId xmlns:a16="http://schemas.microsoft.com/office/drawing/2014/main" id="{09F574E0-8400-465B-BC7A-27596E733D86}"/>
              </a:ext>
            </a:extLst>
          </p:cNvPr>
          <p:cNvSpPr>
            <a:spLocks noGrp="1"/>
          </p:cNvSpPr>
          <p:nvPr>
            <p:ph type="body" sz="quarter" idx="16"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4054044668"/>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two images alterna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ACC51-0573-44A0-8A2B-DB3B0334EADB}"/>
              </a:ext>
            </a:extLst>
          </p:cNvPr>
          <p:cNvSpPr>
            <a:spLocks noGrp="1"/>
          </p:cNvSpPr>
          <p:nvPr>
            <p:ph type="title"/>
          </p:nvPr>
        </p:nvSpPr>
        <p:spPr>
          <a:xfrm>
            <a:off x="6348414" y="441325"/>
            <a:ext cx="5364163" cy="466725"/>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D3BC75-3A22-432C-9EBF-C5C3FEB5828C}"/>
              </a:ext>
            </a:extLst>
          </p:cNvPr>
          <p:cNvSpPr>
            <a:spLocks noGrp="1"/>
          </p:cNvSpPr>
          <p:nvPr>
            <p:ph sz="half" idx="1"/>
          </p:nvPr>
        </p:nvSpPr>
        <p:spPr>
          <a:xfrm>
            <a:off x="6348413" y="1989138"/>
            <a:ext cx="5364163" cy="4176712"/>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Date Placeholder 7">
            <a:extLst>
              <a:ext uri="{FF2B5EF4-FFF2-40B4-BE49-F238E27FC236}">
                <a16:creationId xmlns:a16="http://schemas.microsoft.com/office/drawing/2014/main" id="{470476EB-A502-4D55-B770-64393418E7B6}"/>
              </a:ext>
            </a:extLst>
          </p:cNvPr>
          <p:cNvSpPr>
            <a:spLocks noGrp="1"/>
          </p:cNvSpPr>
          <p:nvPr>
            <p:ph type="dt" sz="half" idx="10"/>
          </p:nvPr>
        </p:nvSpPr>
        <p:spPr/>
        <p:txBody>
          <a:bodyPr/>
          <a:lstStyle/>
          <a:p>
            <a:endParaRPr lang="en-GB"/>
          </a:p>
        </p:txBody>
      </p:sp>
      <p:sp>
        <p:nvSpPr>
          <p:cNvPr id="9" name="Footer Placeholder 8">
            <a:extLst>
              <a:ext uri="{FF2B5EF4-FFF2-40B4-BE49-F238E27FC236}">
                <a16:creationId xmlns:a16="http://schemas.microsoft.com/office/drawing/2014/main" id="{96521163-8686-4228-ACDD-64759E64E61A}"/>
              </a:ext>
            </a:extLst>
          </p:cNvPr>
          <p:cNvSpPr>
            <a:spLocks noGrp="1"/>
          </p:cNvSpPr>
          <p:nvPr>
            <p:ph type="ftr" sz="quarter" idx="11"/>
          </p:nvPr>
        </p:nvSpPr>
        <p:spPr/>
        <p:txBody>
          <a:bodyPr/>
          <a:lstStyle/>
          <a:p>
            <a:r>
              <a:rPr lang="en-GB"/>
              <a:t>Version 1</a:t>
            </a:r>
          </a:p>
        </p:txBody>
      </p:sp>
      <p:sp>
        <p:nvSpPr>
          <p:cNvPr id="10" name="Slide Number Placeholder 9">
            <a:extLst>
              <a:ext uri="{FF2B5EF4-FFF2-40B4-BE49-F238E27FC236}">
                <a16:creationId xmlns:a16="http://schemas.microsoft.com/office/drawing/2014/main" id="{E0E1019F-39A8-414C-A9A6-4A3DDF96A8F7}"/>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1" name="Text Placeholder 10">
            <a:extLst>
              <a:ext uri="{FF2B5EF4-FFF2-40B4-BE49-F238E27FC236}">
                <a16:creationId xmlns:a16="http://schemas.microsoft.com/office/drawing/2014/main" id="{1D36DE27-D385-44BD-BFC1-C92C948ECE4E}"/>
              </a:ext>
            </a:extLst>
          </p:cNvPr>
          <p:cNvSpPr>
            <a:spLocks noGrp="1"/>
          </p:cNvSpPr>
          <p:nvPr>
            <p:ph type="body" sz="quarter" idx="13"/>
          </p:nvPr>
        </p:nvSpPr>
        <p:spPr>
          <a:xfrm>
            <a:off x="6348415" y="981075"/>
            <a:ext cx="5364162"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
        <p:nvSpPr>
          <p:cNvPr id="6" name="Picture Placeholder 5">
            <a:extLst>
              <a:ext uri="{FF2B5EF4-FFF2-40B4-BE49-F238E27FC236}">
                <a16:creationId xmlns:a16="http://schemas.microsoft.com/office/drawing/2014/main" id="{33E419CD-A9F8-425C-B126-5CC6A7FA20C2}"/>
              </a:ext>
            </a:extLst>
          </p:cNvPr>
          <p:cNvSpPr>
            <a:spLocks noGrp="1"/>
          </p:cNvSpPr>
          <p:nvPr>
            <p:ph type="pic" sz="quarter" idx="14"/>
          </p:nvPr>
        </p:nvSpPr>
        <p:spPr>
          <a:xfrm>
            <a:off x="1" y="0"/>
            <a:ext cx="5843587" cy="3429000"/>
          </a:xfrm>
        </p:spPr>
        <p:txBody>
          <a:bodyPr/>
          <a:lstStyle/>
          <a:p>
            <a:r>
              <a:rPr lang="en-US"/>
              <a:t>Click icon to add picture</a:t>
            </a:r>
            <a:endParaRPr lang="en-GB"/>
          </a:p>
        </p:txBody>
      </p:sp>
      <p:sp>
        <p:nvSpPr>
          <p:cNvPr id="12" name="Picture Placeholder 5">
            <a:extLst>
              <a:ext uri="{FF2B5EF4-FFF2-40B4-BE49-F238E27FC236}">
                <a16:creationId xmlns:a16="http://schemas.microsoft.com/office/drawing/2014/main" id="{D9AB13B5-FD33-4E24-9217-209F7DB06B7C}"/>
              </a:ext>
            </a:extLst>
          </p:cNvPr>
          <p:cNvSpPr>
            <a:spLocks noGrp="1"/>
          </p:cNvSpPr>
          <p:nvPr>
            <p:ph type="pic" sz="quarter" idx="15"/>
          </p:nvPr>
        </p:nvSpPr>
        <p:spPr>
          <a:xfrm>
            <a:off x="1" y="3429000"/>
            <a:ext cx="5843587" cy="3429000"/>
          </a:xfrm>
        </p:spPr>
        <p:txBody>
          <a:bodyPr/>
          <a:lstStyle/>
          <a:p>
            <a:r>
              <a:rPr lang="en-US"/>
              <a:t>Click icon to add picture</a:t>
            </a:r>
            <a:endParaRPr lang="en-GB"/>
          </a:p>
        </p:txBody>
      </p:sp>
      <p:sp>
        <p:nvSpPr>
          <p:cNvPr id="14" name="Text Placeholder 5">
            <a:extLst>
              <a:ext uri="{FF2B5EF4-FFF2-40B4-BE49-F238E27FC236}">
                <a16:creationId xmlns:a16="http://schemas.microsoft.com/office/drawing/2014/main" id="{09F574E0-8400-465B-BC7A-27596E733D86}"/>
              </a:ext>
            </a:extLst>
          </p:cNvPr>
          <p:cNvSpPr>
            <a:spLocks noGrp="1"/>
          </p:cNvSpPr>
          <p:nvPr>
            <p:ph type="body" sz="quarter" idx="16" hasCustomPrompt="1"/>
          </p:nvPr>
        </p:nvSpPr>
        <p:spPr>
          <a:xfrm>
            <a:off x="6348414" y="6165850"/>
            <a:ext cx="4541041"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1888142339"/>
      </p:ext>
    </p:extLst>
  </p:cSld>
  <p:clrMapOvr>
    <a:masterClrMapping/>
  </p:clrMapOvr>
  <p:extLst>
    <p:ext uri="{DCECCB84-F9BA-43D5-87BE-67443E8EF086}">
      <p15:sldGuideLst xmlns:p15="http://schemas.microsoft.com/office/powerpoint/2012/main">
        <p15:guide id="1" pos="3681">
          <p15:clr>
            <a:srgbClr val="FBAE40"/>
          </p15:clr>
        </p15:guide>
        <p15:guide id="2" pos="399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99E59-0FD0-4C3E-A9C4-0CD1423DDCCC}"/>
              </a:ext>
            </a:extLst>
          </p:cNvPr>
          <p:cNvSpPr>
            <a:spLocks noGrp="1"/>
          </p:cNvSpPr>
          <p:nvPr>
            <p:ph type="title"/>
          </p:nvPr>
        </p:nvSpPr>
        <p:spPr/>
        <p:txBody>
          <a:bodyPr/>
          <a:lstStyle/>
          <a:p>
            <a:r>
              <a:rPr lang="en-US"/>
              <a:t>Click to edit Master title style</a:t>
            </a:r>
            <a:endParaRPr lang="en-GB"/>
          </a:p>
        </p:txBody>
      </p:sp>
      <p:sp>
        <p:nvSpPr>
          <p:cNvPr id="6" name="Date Placeholder 5">
            <a:extLst>
              <a:ext uri="{FF2B5EF4-FFF2-40B4-BE49-F238E27FC236}">
                <a16:creationId xmlns:a16="http://schemas.microsoft.com/office/drawing/2014/main" id="{CBDE37A7-F8DA-4780-8E36-C3FC3301A0C2}"/>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EC25D5BD-BB8E-4FBE-B016-3CABEC02E290}"/>
              </a:ext>
            </a:extLst>
          </p:cNvPr>
          <p:cNvSpPr>
            <a:spLocks noGrp="1"/>
          </p:cNvSpPr>
          <p:nvPr>
            <p:ph type="ftr" sz="quarter" idx="11"/>
          </p:nvPr>
        </p:nvSpPr>
        <p:spPr/>
        <p:txBody>
          <a:bodyPr/>
          <a:lstStyle/>
          <a:p>
            <a:r>
              <a:rPr lang="en-GB"/>
              <a:t>Version 1</a:t>
            </a:r>
          </a:p>
        </p:txBody>
      </p:sp>
      <p:sp>
        <p:nvSpPr>
          <p:cNvPr id="8" name="Slide Number Placeholder 7">
            <a:extLst>
              <a:ext uri="{FF2B5EF4-FFF2-40B4-BE49-F238E27FC236}">
                <a16:creationId xmlns:a16="http://schemas.microsoft.com/office/drawing/2014/main" id="{B88892E5-1737-4DC9-9234-BFC9446120B6}"/>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10" name="Text Placeholder 5">
            <a:extLst>
              <a:ext uri="{FF2B5EF4-FFF2-40B4-BE49-F238E27FC236}">
                <a16:creationId xmlns:a16="http://schemas.microsoft.com/office/drawing/2014/main" id="{5FAB94BC-6B2D-4DD9-B4CC-7FE2D8E8517A}"/>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
        <p:nvSpPr>
          <p:cNvPr id="9" name="Text Placeholder 10">
            <a:extLst>
              <a:ext uri="{FF2B5EF4-FFF2-40B4-BE49-F238E27FC236}">
                <a16:creationId xmlns:a16="http://schemas.microsoft.com/office/drawing/2014/main" id="{8CF44C50-B85B-4B46-BE46-2E5252CBA0E3}"/>
              </a:ext>
            </a:extLst>
          </p:cNvPr>
          <p:cNvSpPr>
            <a:spLocks noGrp="1"/>
          </p:cNvSpPr>
          <p:nvPr>
            <p:ph type="body" sz="quarter" idx="13"/>
          </p:nvPr>
        </p:nvSpPr>
        <p:spPr>
          <a:xfrm>
            <a:off x="479425" y="981075"/>
            <a:ext cx="9200035" cy="468000"/>
          </a:xfrm>
        </p:spPr>
        <p:txBody>
          <a:bodyPr/>
          <a:lstStyle>
            <a:lvl1pPr marL="0" indent="0">
              <a:buNone/>
              <a:defRPr sz="2200">
                <a:solidFill>
                  <a:schemeClr val="bg2"/>
                </a:solidFill>
              </a:defRPr>
            </a:lvl1pPr>
            <a:lvl2pPr marL="180975" indent="0">
              <a:buNone/>
              <a:defRPr/>
            </a:lvl2pPr>
            <a:lvl3pPr marL="358775" indent="0">
              <a:buNone/>
              <a:defRPr/>
            </a:lvl3pPr>
            <a:lvl4pPr marL="541337"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943658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Scandinavian herit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593649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04D8E0EB-9603-42C5-A725-2288CB60DC0A}"/>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56A49492-3EE1-4ED2-AA55-76DE84FC078B}"/>
              </a:ext>
            </a:extLst>
          </p:cNvPr>
          <p:cNvSpPr>
            <a:spLocks noGrp="1"/>
          </p:cNvSpPr>
          <p:nvPr>
            <p:ph type="ftr" sz="quarter" idx="11"/>
          </p:nvPr>
        </p:nvSpPr>
        <p:spPr/>
        <p:txBody>
          <a:bodyPr/>
          <a:lstStyle/>
          <a:p>
            <a:r>
              <a:rPr lang="en-GB"/>
              <a:t>Version 1</a:t>
            </a:r>
          </a:p>
        </p:txBody>
      </p:sp>
      <p:sp>
        <p:nvSpPr>
          <p:cNvPr id="7" name="Slide Number Placeholder 6">
            <a:extLst>
              <a:ext uri="{FF2B5EF4-FFF2-40B4-BE49-F238E27FC236}">
                <a16:creationId xmlns:a16="http://schemas.microsoft.com/office/drawing/2014/main" id="{9B9B5D0D-0336-4312-86E0-1ACCDBB5D30A}"/>
              </a:ext>
            </a:extLst>
          </p:cNvPr>
          <p:cNvSpPr>
            <a:spLocks noGrp="1"/>
          </p:cNvSpPr>
          <p:nvPr>
            <p:ph type="sldNum" sz="quarter" idx="12"/>
          </p:nvPr>
        </p:nvSpPr>
        <p:spPr/>
        <p:txBody>
          <a:bodyPr/>
          <a:lstStyle/>
          <a:p>
            <a:fld id="{FB16AA9A-AFE6-4901-A70C-4F1A87BEB784}" type="slidenum">
              <a:rPr lang="en-GB" smtClean="0"/>
              <a:t>‹#›</a:t>
            </a:fld>
            <a:endParaRPr lang="en-GB"/>
          </a:p>
        </p:txBody>
      </p:sp>
      <p:sp>
        <p:nvSpPr>
          <p:cNvPr id="9" name="Text Placeholder 5">
            <a:extLst>
              <a:ext uri="{FF2B5EF4-FFF2-40B4-BE49-F238E27FC236}">
                <a16:creationId xmlns:a16="http://schemas.microsoft.com/office/drawing/2014/main" id="{DADC9754-7A83-42C3-8DA1-253EF7783D08}"/>
              </a:ext>
            </a:extLst>
          </p:cNvPr>
          <p:cNvSpPr>
            <a:spLocks noGrp="1"/>
          </p:cNvSpPr>
          <p:nvPr>
            <p:ph type="body" sz="quarter" idx="14" hasCustomPrompt="1"/>
          </p:nvPr>
        </p:nvSpPr>
        <p:spPr>
          <a:xfrm>
            <a:off x="479425" y="6165850"/>
            <a:ext cx="5364163" cy="466725"/>
          </a:xfrm>
        </p:spPr>
        <p:txBody>
          <a:bodyPr anchor="b"/>
          <a:lstStyle>
            <a:lvl1pPr marL="0" indent="0">
              <a:spcBef>
                <a:spcPts val="0"/>
              </a:spcBef>
              <a:buNone/>
              <a:defRPr sz="800"/>
            </a:lvl1pPr>
            <a:lvl2pPr marL="180975" indent="0">
              <a:buNone/>
              <a:defRPr/>
            </a:lvl2pPr>
          </a:lstStyle>
          <a:p>
            <a:pPr lvl="0"/>
            <a:r>
              <a:rPr lang="en-US" noProof="0"/>
              <a:t>Source</a:t>
            </a:r>
          </a:p>
        </p:txBody>
      </p:sp>
    </p:spTree>
    <p:extLst>
      <p:ext uri="{BB962C8B-B14F-4D97-AF65-F5344CB8AC3E}">
        <p14:creationId xmlns:p14="http://schemas.microsoft.com/office/powerpoint/2010/main" val="29243832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On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21946220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One image with tex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12192000" cy="4940300"/>
          </a:xfrm>
        </p:spPr>
        <p:txBody>
          <a:bodyPr/>
          <a:lstStyle/>
          <a:p>
            <a:r>
              <a:rPr lang="en-US"/>
              <a:t>Click icon to add picture</a:t>
            </a:r>
            <a:endParaRPr lang="en-GB"/>
          </a:p>
        </p:txBody>
      </p:sp>
      <p:sp>
        <p:nvSpPr>
          <p:cNvPr id="4" name="Content Placeholder 2">
            <a:extLst>
              <a:ext uri="{FF2B5EF4-FFF2-40B4-BE49-F238E27FC236}">
                <a16:creationId xmlns:a16="http://schemas.microsoft.com/office/drawing/2014/main" id="{33EDC29F-806E-41D8-8B76-2A376F14FCEF}"/>
              </a:ext>
            </a:extLst>
          </p:cNvPr>
          <p:cNvSpPr>
            <a:spLocks noGrp="1"/>
          </p:cNvSpPr>
          <p:nvPr>
            <p:ph sz="half" idx="1"/>
          </p:nvPr>
        </p:nvSpPr>
        <p:spPr>
          <a:xfrm>
            <a:off x="479424" y="5384800"/>
            <a:ext cx="11233151" cy="781050"/>
          </a:xfrm>
        </p:spPr>
        <p:txBody>
          <a:bodyPr/>
          <a:lstStyle>
            <a:lvl1pPr marL="0" indent="0">
              <a:buNone/>
              <a:defRPr/>
            </a:lvl1pPr>
          </a:lstStyle>
          <a:p>
            <a:pPr lvl="0"/>
            <a:r>
              <a:rPr lang="en-US" noProof="0"/>
              <a:t>Edit Master text styles</a:t>
            </a:r>
          </a:p>
        </p:txBody>
      </p:sp>
    </p:spTree>
    <p:extLst>
      <p:ext uri="{BB962C8B-B14F-4D97-AF65-F5344CB8AC3E}">
        <p14:creationId xmlns:p14="http://schemas.microsoft.com/office/powerpoint/2010/main" val="31328517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6096000" cy="6858000"/>
          </a:xfrm>
        </p:spPr>
        <p:txBody>
          <a:bodyPr/>
          <a:lstStyle/>
          <a:p>
            <a:r>
              <a:rPr lang="en-US"/>
              <a:t>Click icon to add picture</a:t>
            </a:r>
            <a:endParaRPr lang="en-GB"/>
          </a:p>
        </p:txBody>
      </p:sp>
      <p:sp>
        <p:nvSpPr>
          <p:cNvPr id="4" name="Picture Placeholder 2">
            <a:extLst>
              <a:ext uri="{FF2B5EF4-FFF2-40B4-BE49-F238E27FC236}">
                <a16:creationId xmlns:a16="http://schemas.microsoft.com/office/drawing/2014/main" id="{3BF29427-2E6F-4EC9-936C-2EF2BC37CD92}"/>
              </a:ext>
            </a:extLst>
          </p:cNvPr>
          <p:cNvSpPr>
            <a:spLocks noGrp="1"/>
          </p:cNvSpPr>
          <p:nvPr>
            <p:ph type="pic" sz="quarter" idx="14"/>
          </p:nvPr>
        </p:nvSpPr>
        <p:spPr>
          <a:xfrm>
            <a:off x="6096000" y="0"/>
            <a:ext cx="6096000" cy="6858000"/>
          </a:xfrm>
        </p:spPr>
        <p:txBody>
          <a:bodyPr/>
          <a:lstStyle/>
          <a:p>
            <a:r>
              <a:rPr lang="en-US"/>
              <a:t>Click icon to add picture</a:t>
            </a:r>
            <a:endParaRPr lang="en-GB"/>
          </a:p>
        </p:txBody>
      </p:sp>
    </p:spTree>
    <p:extLst>
      <p:ext uri="{BB962C8B-B14F-4D97-AF65-F5344CB8AC3E}">
        <p14:creationId xmlns:p14="http://schemas.microsoft.com/office/powerpoint/2010/main" val="90545055"/>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ree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2A1A1AA-CC28-45DD-8A4A-D7542D43C272}"/>
              </a:ext>
            </a:extLst>
          </p:cNvPr>
          <p:cNvSpPr>
            <a:spLocks noGrp="1"/>
          </p:cNvSpPr>
          <p:nvPr>
            <p:ph type="pic" sz="quarter" idx="13"/>
          </p:nvPr>
        </p:nvSpPr>
        <p:spPr>
          <a:xfrm>
            <a:off x="0" y="0"/>
            <a:ext cx="6096000" cy="3429000"/>
          </a:xfrm>
        </p:spPr>
        <p:txBody>
          <a:bodyPr/>
          <a:lstStyle/>
          <a:p>
            <a:r>
              <a:rPr lang="en-US"/>
              <a:t>Click icon to add picture</a:t>
            </a:r>
            <a:endParaRPr lang="en-GB"/>
          </a:p>
        </p:txBody>
      </p:sp>
      <p:sp>
        <p:nvSpPr>
          <p:cNvPr id="4" name="Picture Placeholder 2">
            <a:extLst>
              <a:ext uri="{FF2B5EF4-FFF2-40B4-BE49-F238E27FC236}">
                <a16:creationId xmlns:a16="http://schemas.microsoft.com/office/drawing/2014/main" id="{3BF29427-2E6F-4EC9-936C-2EF2BC37CD92}"/>
              </a:ext>
            </a:extLst>
          </p:cNvPr>
          <p:cNvSpPr>
            <a:spLocks noGrp="1"/>
          </p:cNvSpPr>
          <p:nvPr>
            <p:ph type="pic" sz="quarter" idx="14"/>
          </p:nvPr>
        </p:nvSpPr>
        <p:spPr>
          <a:xfrm>
            <a:off x="6096000" y="0"/>
            <a:ext cx="6096000" cy="6858000"/>
          </a:xfrm>
        </p:spPr>
        <p:txBody>
          <a:bodyPr/>
          <a:lstStyle/>
          <a:p>
            <a:r>
              <a:rPr lang="en-US"/>
              <a:t>Click icon to add picture</a:t>
            </a:r>
            <a:endParaRPr lang="en-GB"/>
          </a:p>
        </p:txBody>
      </p:sp>
      <p:sp>
        <p:nvSpPr>
          <p:cNvPr id="5" name="Picture Placeholder 2">
            <a:extLst>
              <a:ext uri="{FF2B5EF4-FFF2-40B4-BE49-F238E27FC236}">
                <a16:creationId xmlns:a16="http://schemas.microsoft.com/office/drawing/2014/main" id="{DC473AA6-D9EF-4CFC-92B3-E9AEBE6BFE48}"/>
              </a:ext>
            </a:extLst>
          </p:cNvPr>
          <p:cNvSpPr>
            <a:spLocks noGrp="1"/>
          </p:cNvSpPr>
          <p:nvPr>
            <p:ph type="pic" sz="quarter" idx="15"/>
          </p:nvPr>
        </p:nvSpPr>
        <p:spPr>
          <a:xfrm>
            <a:off x="0" y="3429000"/>
            <a:ext cx="6096000" cy="3429000"/>
          </a:xfrm>
        </p:spPr>
        <p:txBody>
          <a:bodyPr/>
          <a:lstStyle/>
          <a:p>
            <a:r>
              <a:rPr lang="en-US"/>
              <a:t>Click icon to add picture</a:t>
            </a:r>
            <a:endParaRPr lang="en-GB"/>
          </a:p>
        </p:txBody>
      </p:sp>
    </p:spTree>
    <p:extLst>
      <p:ext uri="{BB962C8B-B14F-4D97-AF65-F5344CB8AC3E}">
        <p14:creationId xmlns:p14="http://schemas.microsoft.com/office/powerpoint/2010/main" val="15030733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tx2"/>
        </a:solidFill>
        <a:effectLst/>
      </p:bgPr>
    </p:bg>
    <p:spTree>
      <p:nvGrpSpPr>
        <p:cNvPr id="1" name=""/>
        <p:cNvGrpSpPr/>
        <p:nvPr/>
      </p:nvGrpSpPr>
      <p:grpSpPr>
        <a:xfrm>
          <a:off x="0" y="0"/>
          <a:ext cx="0" cy="0"/>
          <a:chOff x="0" y="0"/>
          <a:chExt cx="0" cy="0"/>
        </a:xfrm>
      </p:grpSpPr>
      <p:grpSp>
        <p:nvGrpSpPr>
          <p:cNvPr id="9" name="Group 4">
            <a:extLst>
              <a:ext uri="{FF2B5EF4-FFF2-40B4-BE49-F238E27FC236}">
                <a16:creationId xmlns:a16="http://schemas.microsoft.com/office/drawing/2014/main" id="{B78FF7BB-52BA-46DA-B9EB-95E8C58644FD}"/>
              </a:ext>
            </a:extLst>
          </p:cNvPr>
          <p:cNvGrpSpPr>
            <a:grpSpLocks noChangeAspect="1"/>
          </p:cNvGrpSpPr>
          <p:nvPr userDrawn="1"/>
        </p:nvGrpSpPr>
        <p:grpSpPr bwMode="auto">
          <a:xfrm>
            <a:off x="5151438" y="1931307"/>
            <a:ext cx="1889125" cy="2555875"/>
            <a:chOff x="3245" y="1308"/>
            <a:chExt cx="1190" cy="1610"/>
          </a:xfrm>
          <a:solidFill>
            <a:schemeClr val="bg1"/>
          </a:solidFill>
        </p:grpSpPr>
        <p:sp>
          <p:nvSpPr>
            <p:cNvPr id="11" name="Freeform 5">
              <a:extLst>
                <a:ext uri="{FF2B5EF4-FFF2-40B4-BE49-F238E27FC236}">
                  <a16:creationId xmlns:a16="http://schemas.microsoft.com/office/drawing/2014/main" id="{C32C34FE-B266-41B3-99FD-10A6A3BB60A1}"/>
                </a:ext>
              </a:extLst>
            </p:cNvPr>
            <p:cNvSpPr>
              <a:spLocks/>
            </p:cNvSpPr>
            <p:nvPr userDrawn="1"/>
          </p:nvSpPr>
          <p:spPr bwMode="auto">
            <a:xfrm>
              <a:off x="3245" y="2082"/>
              <a:ext cx="261" cy="332"/>
            </a:xfrm>
            <a:custGeom>
              <a:avLst/>
              <a:gdLst>
                <a:gd name="T0" fmla="*/ 59 w 261"/>
                <a:gd name="T1" fmla="*/ 186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6 h 332"/>
                <a:gd name="T24" fmla="*/ 59 w 261"/>
                <a:gd name="T25" fmla="*/ 18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6"/>
                  </a:moveTo>
                  <a:lnTo>
                    <a:pt x="59" y="332"/>
                  </a:lnTo>
                  <a:lnTo>
                    <a:pt x="0" y="332"/>
                  </a:lnTo>
                  <a:lnTo>
                    <a:pt x="0" y="0"/>
                  </a:lnTo>
                  <a:lnTo>
                    <a:pt x="59" y="0"/>
                  </a:lnTo>
                  <a:lnTo>
                    <a:pt x="59" y="135"/>
                  </a:lnTo>
                  <a:lnTo>
                    <a:pt x="202" y="135"/>
                  </a:lnTo>
                  <a:lnTo>
                    <a:pt x="202" y="0"/>
                  </a:lnTo>
                  <a:lnTo>
                    <a:pt x="261" y="0"/>
                  </a:lnTo>
                  <a:lnTo>
                    <a:pt x="261" y="332"/>
                  </a:lnTo>
                  <a:lnTo>
                    <a:pt x="202" y="332"/>
                  </a:lnTo>
                  <a:lnTo>
                    <a:pt x="202" y="186"/>
                  </a:lnTo>
                  <a:lnTo>
                    <a:pt x="59"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44AA8273-7C2A-4952-AF3B-2788676D6640}"/>
                </a:ext>
              </a:extLst>
            </p:cNvPr>
            <p:cNvSpPr>
              <a:spLocks/>
            </p:cNvSpPr>
            <p:nvPr userDrawn="1"/>
          </p:nvSpPr>
          <p:spPr bwMode="auto">
            <a:xfrm>
              <a:off x="3529" y="2170"/>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a:extLst>
                <a:ext uri="{FF2B5EF4-FFF2-40B4-BE49-F238E27FC236}">
                  <a16:creationId xmlns:a16="http://schemas.microsoft.com/office/drawing/2014/main" id="{4108DB83-089F-4451-A0B4-8FA566C4998B}"/>
                </a:ext>
              </a:extLst>
            </p:cNvPr>
            <p:cNvSpPr>
              <a:spLocks noEditPoints="1"/>
            </p:cNvSpPr>
            <p:nvPr userDrawn="1"/>
          </p:nvSpPr>
          <p:spPr bwMode="auto">
            <a:xfrm>
              <a:off x="3764" y="2082"/>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a:extLst>
                <a:ext uri="{FF2B5EF4-FFF2-40B4-BE49-F238E27FC236}">
                  <a16:creationId xmlns:a16="http://schemas.microsoft.com/office/drawing/2014/main" id="{0C10B8BB-C7A6-43F7-A731-7F4C2FD63B5F}"/>
                </a:ext>
              </a:extLst>
            </p:cNvPr>
            <p:cNvSpPr>
              <a:spLocks/>
            </p:cNvSpPr>
            <p:nvPr userDrawn="1"/>
          </p:nvSpPr>
          <p:spPr bwMode="auto">
            <a:xfrm>
              <a:off x="4051" y="2163"/>
              <a:ext cx="125" cy="251"/>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41A95C0A-7801-459A-82FF-F3100804E832}"/>
                </a:ext>
              </a:extLst>
            </p:cNvPr>
            <p:cNvSpPr>
              <a:spLocks noEditPoints="1"/>
            </p:cNvSpPr>
            <p:nvPr userDrawn="1"/>
          </p:nvSpPr>
          <p:spPr bwMode="auto">
            <a:xfrm>
              <a:off x="4181" y="2161"/>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a:extLst>
                <a:ext uri="{FF2B5EF4-FFF2-40B4-BE49-F238E27FC236}">
                  <a16:creationId xmlns:a16="http://schemas.microsoft.com/office/drawing/2014/main" id="{EA367DC1-733B-4ED9-B170-8E5AEA94DDAC}"/>
                </a:ext>
              </a:extLst>
            </p:cNvPr>
            <p:cNvSpPr>
              <a:spLocks noEditPoints="1"/>
            </p:cNvSpPr>
            <p:nvPr userDrawn="1"/>
          </p:nvSpPr>
          <p:spPr bwMode="auto">
            <a:xfrm>
              <a:off x="3529" y="1308"/>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E2240389-001B-45C7-85B9-467EB92E4A20}"/>
                </a:ext>
              </a:extLst>
            </p:cNvPr>
            <p:cNvSpPr>
              <a:spLocks noEditPoints="1"/>
            </p:cNvSpPr>
            <p:nvPr userDrawn="1"/>
          </p:nvSpPr>
          <p:spPr bwMode="auto">
            <a:xfrm>
              <a:off x="3247" y="2809"/>
              <a:ext cx="1188" cy="109"/>
            </a:xfrm>
            <a:custGeom>
              <a:avLst/>
              <a:gdLst>
                <a:gd name="T0" fmla="*/ 652 w 687"/>
                <a:gd name="T1" fmla="*/ 24 h 63"/>
                <a:gd name="T2" fmla="*/ 662 w 687"/>
                <a:gd name="T3" fmla="*/ 30 h 63"/>
                <a:gd name="T4" fmla="*/ 673 w 687"/>
                <a:gd name="T5" fmla="*/ 62 h 63"/>
                <a:gd name="T6" fmla="*/ 668 w 687"/>
                <a:gd name="T7" fmla="*/ 18 h 63"/>
                <a:gd name="T8" fmla="*/ 637 w 687"/>
                <a:gd name="T9" fmla="*/ 17 h 63"/>
                <a:gd name="T10" fmla="*/ 617 w 687"/>
                <a:gd name="T11" fmla="*/ 17 h 63"/>
                <a:gd name="T12" fmla="*/ 588 w 687"/>
                <a:gd name="T13" fmla="*/ 56 h 63"/>
                <a:gd name="T14" fmla="*/ 575 w 687"/>
                <a:gd name="T15" fmla="*/ 43 h 63"/>
                <a:gd name="T16" fmla="*/ 559 w 687"/>
                <a:gd name="T17" fmla="*/ 62 h 63"/>
                <a:gd name="T18" fmla="*/ 559 w 687"/>
                <a:gd name="T19" fmla="*/ 62 h 63"/>
                <a:gd name="T20" fmla="*/ 563 w 687"/>
                <a:gd name="T21" fmla="*/ 9 h 63"/>
                <a:gd name="T22" fmla="*/ 537 w 687"/>
                <a:gd name="T23" fmla="*/ 24 h 63"/>
                <a:gd name="T24" fmla="*/ 546 w 687"/>
                <a:gd name="T25" fmla="*/ 27 h 63"/>
                <a:gd name="T26" fmla="*/ 513 w 687"/>
                <a:gd name="T27" fmla="*/ 17 h 63"/>
                <a:gd name="T28" fmla="*/ 493 w 687"/>
                <a:gd name="T29" fmla="*/ 17 h 63"/>
                <a:gd name="T30" fmla="*/ 504 w 687"/>
                <a:gd name="T31" fmla="*/ 0 h 63"/>
                <a:gd name="T32" fmla="*/ 424 w 687"/>
                <a:gd name="T33" fmla="*/ 41 h 63"/>
                <a:gd name="T34" fmla="*/ 444 w 687"/>
                <a:gd name="T35" fmla="*/ 32 h 63"/>
                <a:gd name="T36" fmla="*/ 466 w 687"/>
                <a:gd name="T37" fmla="*/ 22 h 63"/>
                <a:gd name="T38" fmla="*/ 478 w 687"/>
                <a:gd name="T39" fmla="*/ 33 h 63"/>
                <a:gd name="T40" fmla="*/ 449 w 687"/>
                <a:gd name="T41" fmla="*/ 18 h 63"/>
                <a:gd name="T42" fmla="*/ 412 w 687"/>
                <a:gd name="T43" fmla="*/ 62 h 63"/>
                <a:gd name="T44" fmla="*/ 397 w 687"/>
                <a:gd name="T45" fmla="*/ 36 h 63"/>
                <a:gd name="T46" fmla="*/ 373 w 687"/>
                <a:gd name="T47" fmla="*/ 51 h 63"/>
                <a:gd name="T48" fmla="*/ 369 w 687"/>
                <a:gd name="T49" fmla="*/ 60 h 63"/>
                <a:gd name="T50" fmla="*/ 364 w 687"/>
                <a:gd name="T51" fmla="*/ 0 h 63"/>
                <a:gd name="T52" fmla="*/ 319 w 687"/>
                <a:gd name="T53" fmla="*/ 55 h 63"/>
                <a:gd name="T54" fmla="*/ 319 w 687"/>
                <a:gd name="T55" fmla="*/ 41 h 63"/>
                <a:gd name="T56" fmla="*/ 333 w 687"/>
                <a:gd name="T57" fmla="*/ 56 h 63"/>
                <a:gd name="T58" fmla="*/ 308 w 687"/>
                <a:gd name="T59" fmla="*/ 20 h 63"/>
                <a:gd name="T60" fmla="*/ 330 w 687"/>
                <a:gd name="T61" fmla="*/ 28 h 63"/>
                <a:gd name="T62" fmla="*/ 296 w 687"/>
                <a:gd name="T63" fmla="*/ 50 h 63"/>
                <a:gd name="T64" fmla="*/ 239 w 687"/>
                <a:gd name="T65" fmla="*/ 25 h 63"/>
                <a:gd name="T66" fmla="*/ 239 w 687"/>
                <a:gd name="T67" fmla="*/ 25 h 63"/>
                <a:gd name="T68" fmla="*/ 265 w 687"/>
                <a:gd name="T69" fmla="*/ 41 h 63"/>
                <a:gd name="T70" fmla="*/ 224 w 687"/>
                <a:gd name="T71" fmla="*/ 44 h 63"/>
                <a:gd name="T72" fmla="*/ 255 w 687"/>
                <a:gd name="T73" fmla="*/ 47 h 63"/>
                <a:gd name="T74" fmla="*/ 223 w 687"/>
                <a:gd name="T75" fmla="*/ 25 h 63"/>
                <a:gd name="T76" fmla="*/ 203 w 687"/>
                <a:gd name="T77" fmla="*/ 17 h 63"/>
                <a:gd name="T78" fmla="*/ 155 w 687"/>
                <a:gd name="T79" fmla="*/ 55 h 63"/>
                <a:gd name="T80" fmla="*/ 178 w 687"/>
                <a:gd name="T81" fmla="*/ 39 h 63"/>
                <a:gd name="T82" fmla="*/ 186 w 687"/>
                <a:gd name="T83" fmla="*/ 36 h 63"/>
                <a:gd name="T84" fmla="*/ 158 w 687"/>
                <a:gd name="T85" fmla="*/ 30 h 63"/>
                <a:gd name="T86" fmla="*/ 169 w 687"/>
                <a:gd name="T87" fmla="*/ 35 h 63"/>
                <a:gd name="T88" fmla="*/ 159 w 687"/>
                <a:gd name="T89" fmla="*/ 63 h 63"/>
                <a:gd name="T90" fmla="*/ 105 w 687"/>
                <a:gd name="T91" fmla="*/ 25 h 63"/>
                <a:gd name="T92" fmla="*/ 91 w 687"/>
                <a:gd name="T93" fmla="*/ 56 h 63"/>
                <a:gd name="T94" fmla="*/ 110 w 687"/>
                <a:gd name="T95" fmla="*/ 21 h 63"/>
                <a:gd name="T96" fmla="*/ 82 w 687"/>
                <a:gd name="T97" fmla="*/ 60 h 63"/>
                <a:gd name="T98" fmla="*/ 12 w 687"/>
                <a:gd name="T99" fmla="*/ 62 h 63"/>
                <a:gd name="T100" fmla="*/ 80 w 687"/>
                <a:gd name="T101" fmla="*/ 0 h 63"/>
                <a:gd name="T102" fmla="*/ 45 w 687"/>
                <a:gd name="T103" fmla="*/ 0 h 63"/>
                <a:gd name="T104" fmla="*/ 9 w 687"/>
                <a:gd name="T10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7" h="63">
                  <a:moveTo>
                    <a:pt x="628" y="62"/>
                  </a:moveTo>
                  <a:cubicBezTo>
                    <a:pt x="632" y="41"/>
                    <a:pt x="632" y="41"/>
                    <a:pt x="632" y="41"/>
                  </a:cubicBezTo>
                  <a:cubicBezTo>
                    <a:pt x="633" y="36"/>
                    <a:pt x="634" y="33"/>
                    <a:pt x="636" y="30"/>
                  </a:cubicBezTo>
                  <a:cubicBezTo>
                    <a:pt x="637" y="28"/>
                    <a:pt x="639" y="26"/>
                    <a:pt x="641" y="24"/>
                  </a:cubicBezTo>
                  <a:cubicBezTo>
                    <a:pt x="644" y="23"/>
                    <a:pt x="646" y="22"/>
                    <a:pt x="648" y="22"/>
                  </a:cubicBezTo>
                  <a:cubicBezTo>
                    <a:pt x="650" y="22"/>
                    <a:pt x="651" y="23"/>
                    <a:pt x="652" y="24"/>
                  </a:cubicBezTo>
                  <a:cubicBezTo>
                    <a:pt x="653" y="24"/>
                    <a:pt x="653" y="26"/>
                    <a:pt x="653" y="27"/>
                  </a:cubicBezTo>
                  <a:cubicBezTo>
                    <a:pt x="653" y="28"/>
                    <a:pt x="653" y="29"/>
                    <a:pt x="652" y="32"/>
                  </a:cubicBezTo>
                  <a:cubicBezTo>
                    <a:pt x="646" y="62"/>
                    <a:pt x="646" y="62"/>
                    <a:pt x="646" y="62"/>
                  </a:cubicBezTo>
                  <a:cubicBezTo>
                    <a:pt x="654" y="62"/>
                    <a:pt x="654" y="62"/>
                    <a:pt x="654" y="62"/>
                  </a:cubicBezTo>
                  <a:cubicBezTo>
                    <a:pt x="658" y="40"/>
                    <a:pt x="658" y="40"/>
                    <a:pt x="658" y="40"/>
                  </a:cubicBezTo>
                  <a:cubicBezTo>
                    <a:pt x="659" y="35"/>
                    <a:pt x="660" y="32"/>
                    <a:pt x="662" y="30"/>
                  </a:cubicBezTo>
                  <a:cubicBezTo>
                    <a:pt x="663" y="27"/>
                    <a:pt x="665" y="26"/>
                    <a:pt x="667" y="24"/>
                  </a:cubicBezTo>
                  <a:cubicBezTo>
                    <a:pt x="670" y="23"/>
                    <a:pt x="672" y="22"/>
                    <a:pt x="674" y="22"/>
                  </a:cubicBezTo>
                  <a:cubicBezTo>
                    <a:pt x="676" y="22"/>
                    <a:pt x="677" y="23"/>
                    <a:pt x="678" y="24"/>
                  </a:cubicBezTo>
                  <a:cubicBezTo>
                    <a:pt x="679" y="24"/>
                    <a:pt x="680" y="25"/>
                    <a:pt x="680" y="27"/>
                  </a:cubicBezTo>
                  <a:cubicBezTo>
                    <a:pt x="680" y="28"/>
                    <a:pt x="679" y="30"/>
                    <a:pt x="679" y="32"/>
                  </a:cubicBezTo>
                  <a:cubicBezTo>
                    <a:pt x="673" y="62"/>
                    <a:pt x="673" y="62"/>
                    <a:pt x="673" y="62"/>
                  </a:cubicBezTo>
                  <a:cubicBezTo>
                    <a:pt x="680" y="62"/>
                    <a:pt x="680" y="62"/>
                    <a:pt x="680" y="62"/>
                  </a:cubicBezTo>
                  <a:cubicBezTo>
                    <a:pt x="686" y="33"/>
                    <a:pt x="686" y="33"/>
                    <a:pt x="686" y="33"/>
                  </a:cubicBezTo>
                  <a:cubicBezTo>
                    <a:pt x="687" y="30"/>
                    <a:pt x="687" y="27"/>
                    <a:pt x="687" y="26"/>
                  </a:cubicBezTo>
                  <a:cubicBezTo>
                    <a:pt x="687" y="23"/>
                    <a:pt x="686" y="20"/>
                    <a:pt x="684" y="19"/>
                  </a:cubicBezTo>
                  <a:cubicBezTo>
                    <a:pt x="683" y="17"/>
                    <a:pt x="680" y="16"/>
                    <a:pt x="676" y="16"/>
                  </a:cubicBezTo>
                  <a:cubicBezTo>
                    <a:pt x="673" y="16"/>
                    <a:pt x="671" y="17"/>
                    <a:pt x="668" y="18"/>
                  </a:cubicBezTo>
                  <a:cubicBezTo>
                    <a:pt x="666" y="19"/>
                    <a:pt x="663" y="22"/>
                    <a:pt x="661" y="24"/>
                  </a:cubicBezTo>
                  <a:cubicBezTo>
                    <a:pt x="660" y="22"/>
                    <a:pt x="659" y="20"/>
                    <a:pt x="657" y="18"/>
                  </a:cubicBezTo>
                  <a:cubicBezTo>
                    <a:pt x="655" y="17"/>
                    <a:pt x="653" y="16"/>
                    <a:pt x="650" y="16"/>
                  </a:cubicBezTo>
                  <a:cubicBezTo>
                    <a:pt x="648" y="16"/>
                    <a:pt x="645" y="17"/>
                    <a:pt x="643" y="18"/>
                  </a:cubicBezTo>
                  <a:cubicBezTo>
                    <a:pt x="641" y="19"/>
                    <a:pt x="638" y="21"/>
                    <a:pt x="635" y="24"/>
                  </a:cubicBezTo>
                  <a:cubicBezTo>
                    <a:pt x="637" y="17"/>
                    <a:pt x="637" y="17"/>
                    <a:pt x="637" y="17"/>
                  </a:cubicBezTo>
                  <a:cubicBezTo>
                    <a:pt x="629" y="17"/>
                    <a:pt x="629" y="17"/>
                    <a:pt x="629" y="17"/>
                  </a:cubicBezTo>
                  <a:cubicBezTo>
                    <a:pt x="620" y="62"/>
                    <a:pt x="620" y="62"/>
                    <a:pt x="620" y="62"/>
                  </a:cubicBezTo>
                  <a:lnTo>
                    <a:pt x="628" y="62"/>
                  </a:lnTo>
                  <a:close/>
                  <a:moveTo>
                    <a:pt x="600" y="62"/>
                  </a:moveTo>
                  <a:cubicBezTo>
                    <a:pt x="607" y="62"/>
                    <a:pt x="607" y="62"/>
                    <a:pt x="607" y="62"/>
                  </a:cubicBezTo>
                  <a:cubicBezTo>
                    <a:pt x="617" y="17"/>
                    <a:pt x="617" y="17"/>
                    <a:pt x="617" y="17"/>
                  </a:cubicBezTo>
                  <a:cubicBezTo>
                    <a:pt x="609" y="17"/>
                    <a:pt x="609" y="17"/>
                    <a:pt x="609" y="17"/>
                  </a:cubicBezTo>
                  <a:cubicBezTo>
                    <a:pt x="605" y="36"/>
                    <a:pt x="605" y="36"/>
                    <a:pt x="605" y="36"/>
                  </a:cubicBezTo>
                  <a:cubicBezTo>
                    <a:pt x="604" y="40"/>
                    <a:pt x="604" y="43"/>
                    <a:pt x="603" y="44"/>
                  </a:cubicBezTo>
                  <a:cubicBezTo>
                    <a:pt x="602" y="47"/>
                    <a:pt x="601" y="49"/>
                    <a:pt x="599" y="51"/>
                  </a:cubicBezTo>
                  <a:cubicBezTo>
                    <a:pt x="598" y="52"/>
                    <a:pt x="596" y="54"/>
                    <a:pt x="594" y="55"/>
                  </a:cubicBezTo>
                  <a:cubicBezTo>
                    <a:pt x="592" y="56"/>
                    <a:pt x="590" y="56"/>
                    <a:pt x="588" y="56"/>
                  </a:cubicBezTo>
                  <a:cubicBezTo>
                    <a:pt x="586" y="56"/>
                    <a:pt x="584" y="56"/>
                    <a:pt x="583" y="55"/>
                  </a:cubicBezTo>
                  <a:cubicBezTo>
                    <a:pt x="582" y="54"/>
                    <a:pt x="582" y="53"/>
                    <a:pt x="582" y="51"/>
                  </a:cubicBezTo>
                  <a:cubicBezTo>
                    <a:pt x="582" y="50"/>
                    <a:pt x="582" y="48"/>
                    <a:pt x="583" y="46"/>
                  </a:cubicBezTo>
                  <a:cubicBezTo>
                    <a:pt x="589" y="17"/>
                    <a:pt x="589" y="17"/>
                    <a:pt x="589" y="17"/>
                  </a:cubicBezTo>
                  <a:cubicBezTo>
                    <a:pt x="581" y="17"/>
                    <a:pt x="581" y="17"/>
                    <a:pt x="581" y="17"/>
                  </a:cubicBezTo>
                  <a:cubicBezTo>
                    <a:pt x="575" y="43"/>
                    <a:pt x="575" y="43"/>
                    <a:pt x="575" y="43"/>
                  </a:cubicBezTo>
                  <a:cubicBezTo>
                    <a:pt x="575" y="47"/>
                    <a:pt x="574" y="51"/>
                    <a:pt x="574" y="52"/>
                  </a:cubicBezTo>
                  <a:cubicBezTo>
                    <a:pt x="574" y="55"/>
                    <a:pt x="575" y="58"/>
                    <a:pt x="577" y="60"/>
                  </a:cubicBezTo>
                  <a:cubicBezTo>
                    <a:pt x="579" y="62"/>
                    <a:pt x="582" y="63"/>
                    <a:pt x="586" y="63"/>
                  </a:cubicBezTo>
                  <a:cubicBezTo>
                    <a:pt x="591" y="63"/>
                    <a:pt x="597" y="60"/>
                    <a:pt x="602" y="54"/>
                  </a:cubicBezTo>
                  <a:lnTo>
                    <a:pt x="600" y="62"/>
                  </a:lnTo>
                  <a:close/>
                  <a:moveTo>
                    <a:pt x="559" y="62"/>
                  </a:moveTo>
                  <a:cubicBezTo>
                    <a:pt x="565" y="34"/>
                    <a:pt x="565" y="34"/>
                    <a:pt x="565" y="34"/>
                  </a:cubicBezTo>
                  <a:cubicBezTo>
                    <a:pt x="569" y="17"/>
                    <a:pt x="569" y="17"/>
                    <a:pt x="569" y="17"/>
                  </a:cubicBezTo>
                  <a:cubicBezTo>
                    <a:pt x="561" y="17"/>
                    <a:pt x="561" y="17"/>
                    <a:pt x="561" y="17"/>
                  </a:cubicBezTo>
                  <a:cubicBezTo>
                    <a:pt x="557" y="34"/>
                    <a:pt x="557" y="34"/>
                    <a:pt x="557" y="34"/>
                  </a:cubicBezTo>
                  <a:cubicBezTo>
                    <a:pt x="552" y="62"/>
                    <a:pt x="552" y="62"/>
                    <a:pt x="552" y="62"/>
                  </a:cubicBezTo>
                  <a:lnTo>
                    <a:pt x="559" y="62"/>
                  </a:lnTo>
                  <a:close/>
                  <a:moveTo>
                    <a:pt x="570" y="9"/>
                  </a:moveTo>
                  <a:cubicBezTo>
                    <a:pt x="571" y="4"/>
                    <a:pt x="571" y="4"/>
                    <a:pt x="571" y="4"/>
                  </a:cubicBezTo>
                  <a:cubicBezTo>
                    <a:pt x="572" y="0"/>
                    <a:pt x="572" y="0"/>
                    <a:pt x="572" y="0"/>
                  </a:cubicBezTo>
                  <a:cubicBezTo>
                    <a:pt x="565" y="0"/>
                    <a:pt x="565" y="0"/>
                    <a:pt x="565" y="0"/>
                  </a:cubicBezTo>
                  <a:cubicBezTo>
                    <a:pt x="564" y="4"/>
                    <a:pt x="564" y="4"/>
                    <a:pt x="564" y="4"/>
                  </a:cubicBezTo>
                  <a:cubicBezTo>
                    <a:pt x="563" y="9"/>
                    <a:pt x="563" y="9"/>
                    <a:pt x="563" y="9"/>
                  </a:cubicBezTo>
                  <a:lnTo>
                    <a:pt x="570" y="9"/>
                  </a:lnTo>
                  <a:close/>
                  <a:moveTo>
                    <a:pt x="511" y="62"/>
                  </a:moveTo>
                  <a:cubicBezTo>
                    <a:pt x="515" y="41"/>
                    <a:pt x="515" y="41"/>
                    <a:pt x="515" y="41"/>
                  </a:cubicBezTo>
                  <a:cubicBezTo>
                    <a:pt x="517" y="34"/>
                    <a:pt x="519" y="29"/>
                    <a:pt x="522" y="26"/>
                  </a:cubicBezTo>
                  <a:cubicBezTo>
                    <a:pt x="525" y="24"/>
                    <a:pt x="529" y="22"/>
                    <a:pt x="533" y="22"/>
                  </a:cubicBezTo>
                  <a:cubicBezTo>
                    <a:pt x="535" y="22"/>
                    <a:pt x="536" y="23"/>
                    <a:pt x="537" y="24"/>
                  </a:cubicBezTo>
                  <a:cubicBezTo>
                    <a:pt x="538" y="25"/>
                    <a:pt x="539" y="26"/>
                    <a:pt x="539" y="27"/>
                  </a:cubicBezTo>
                  <a:cubicBezTo>
                    <a:pt x="539" y="29"/>
                    <a:pt x="538" y="31"/>
                    <a:pt x="538" y="33"/>
                  </a:cubicBezTo>
                  <a:cubicBezTo>
                    <a:pt x="532" y="62"/>
                    <a:pt x="532" y="62"/>
                    <a:pt x="532" y="62"/>
                  </a:cubicBezTo>
                  <a:cubicBezTo>
                    <a:pt x="539" y="62"/>
                    <a:pt x="539" y="62"/>
                    <a:pt x="539" y="62"/>
                  </a:cubicBezTo>
                  <a:cubicBezTo>
                    <a:pt x="545" y="35"/>
                    <a:pt x="545" y="35"/>
                    <a:pt x="545" y="35"/>
                  </a:cubicBezTo>
                  <a:cubicBezTo>
                    <a:pt x="546" y="31"/>
                    <a:pt x="546" y="28"/>
                    <a:pt x="546" y="27"/>
                  </a:cubicBezTo>
                  <a:cubicBezTo>
                    <a:pt x="546" y="24"/>
                    <a:pt x="545" y="21"/>
                    <a:pt x="543" y="19"/>
                  </a:cubicBezTo>
                  <a:cubicBezTo>
                    <a:pt x="541" y="17"/>
                    <a:pt x="538" y="16"/>
                    <a:pt x="535" y="16"/>
                  </a:cubicBezTo>
                  <a:cubicBezTo>
                    <a:pt x="532" y="16"/>
                    <a:pt x="529" y="17"/>
                    <a:pt x="527" y="18"/>
                  </a:cubicBezTo>
                  <a:cubicBezTo>
                    <a:pt x="524" y="19"/>
                    <a:pt x="521" y="22"/>
                    <a:pt x="518" y="25"/>
                  </a:cubicBezTo>
                  <a:cubicBezTo>
                    <a:pt x="520" y="17"/>
                    <a:pt x="520" y="17"/>
                    <a:pt x="520" y="17"/>
                  </a:cubicBezTo>
                  <a:cubicBezTo>
                    <a:pt x="513" y="17"/>
                    <a:pt x="513" y="17"/>
                    <a:pt x="513" y="17"/>
                  </a:cubicBezTo>
                  <a:cubicBezTo>
                    <a:pt x="504" y="62"/>
                    <a:pt x="504" y="62"/>
                    <a:pt x="504" y="62"/>
                  </a:cubicBezTo>
                  <a:lnTo>
                    <a:pt x="511" y="62"/>
                  </a:lnTo>
                  <a:close/>
                  <a:moveTo>
                    <a:pt x="491" y="62"/>
                  </a:moveTo>
                  <a:cubicBezTo>
                    <a:pt x="497" y="36"/>
                    <a:pt x="497" y="36"/>
                    <a:pt x="497" y="36"/>
                  </a:cubicBezTo>
                  <a:cubicBezTo>
                    <a:pt x="501" y="17"/>
                    <a:pt x="501" y="17"/>
                    <a:pt x="501" y="17"/>
                  </a:cubicBezTo>
                  <a:cubicBezTo>
                    <a:pt x="493" y="17"/>
                    <a:pt x="493" y="17"/>
                    <a:pt x="493" y="17"/>
                  </a:cubicBezTo>
                  <a:cubicBezTo>
                    <a:pt x="489" y="36"/>
                    <a:pt x="489" y="36"/>
                    <a:pt x="489" y="36"/>
                  </a:cubicBezTo>
                  <a:cubicBezTo>
                    <a:pt x="484" y="62"/>
                    <a:pt x="484" y="62"/>
                    <a:pt x="484" y="62"/>
                  </a:cubicBezTo>
                  <a:lnTo>
                    <a:pt x="491" y="62"/>
                  </a:lnTo>
                  <a:close/>
                  <a:moveTo>
                    <a:pt x="502" y="9"/>
                  </a:moveTo>
                  <a:cubicBezTo>
                    <a:pt x="503" y="5"/>
                    <a:pt x="503" y="5"/>
                    <a:pt x="503" y="5"/>
                  </a:cubicBezTo>
                  <a:cubicBezTo>
                    <a:pt x="504" y="0"/>
                    <a:pt x="504" y="0"/>
                    <a:pt x="504" y="0"/>
                  </a:cubicBezTo>
                  <a:cubicBezTo>
                    <a:pt x="497" y="0"/>
                    <a:pt x="497" y="0"/>
                    <a:pt x="497" y="0"/>
                  </a:cubicBezTo>
                  <a:cubicBezTo>
                    <a:pt x="496" y="4"/>
                    <a:pt x="496" y="4"/>
                    <a:pt x="496" y="4"/>
                  </a:cubicBezTo>
                  <a:cubicBezTo>
                    <a:pt x="495" y="9"/>
                    <a:pt x="495" y="9"/>
                    <a:pt x="495" y="9"/>
                  </a:cubicBezTo>
                  <a:lnTo>
                    <a:pt x="502" y="9"/>
                  </a:lnTo>
                  <a:close/>
                  <a:moveTo>
                    <a:pt x="419" y="62"/>
                  </a:moveTo>
                  <a:cubicBezTo>
                    <a:pt x="424" y="41"/>
                    <a:pt x="424" y="41"/>
                    <a:pt x="424" y="41"/>
                  </a:cubicBezTo>
                  <a:cubicBezTo>
                    <a:pt x="425" y="36"/>
                    <a:pt x="426" y="33"/>
                    <a:pt x="427" y="30"/>
                  </a:cubicBezTo>
                  <a:cubicBezTo>
                    <a:pt x="429" y="28"/>
                    <a:pt x="431" y="26"/>
                    <a:pt x="433" y="24"/>
                  </a:cubicBezTo>
                  <a:cubicBezTo>
                    <a:pt x="435" y="23"/>
                    <a:pt x="438" y="22"/>
                    <a:pt x="440" y="22"/>
                  </a:cubicBezTo>
                  <a:cubicBezTo>
                    <a:pt x="441" y="22"/>
                    <a:pt x="443" y="23"/>
                    <a:pt x="443" y="24"/>
                  </a:cubicBezTo>
                  <a:cubicBezTo>
                    <a:pt x="444" y="24"/>
                    <a:pt x="445" y="26"/>
                    <a:pt x="445" y="27"/>
                  </a:cubicBezTo>
                  <a:cubicBezTo>
                    <a:pt x="445" y="28"/>
                    <a:pt x="445" y="29"/>
                    <a:pt x="444" y="32"/>
                  </a:cubicBezTo>
                  <a:cubicBezTo>
                    <a:pt x="438" y="62"/>
                    <a:pt x="438" y="62"/>
                    <a:pt x="438" y="62"/>
                  </a:cubicBezTo>
                  <a:cubicBezTo>
                    <a:pt x="445" y="62"/>
                    <a:pt x="445" y="62"/>
                    <a:pt x="445" y="62"/>
                  </a:cubicBezTo>
                  <a:cubicBezTo>
                    <a:pt x="450" y="40"/>
                    <a:pt x="450" y="40"/>
                    <a:pt x="450" y="40"/>
                  </a:cubicBezTo>
                  <a:cubicBezTo>
                    <a:pt x="451" y="35"/>
                    <a:pt x="452" y="32"/>
                    <a:pt x="453" y="30"/>
                  </a:cubicBezTo>
                  <a:cubicBezTo>
                    <a:pt x="455" y="27"/>
                    <a:pt x="457" y="26"/>
                    <a:pt x="459" y="24"/>
                  </a:cubicBezTo>
                  <a:cubicBezTo>
                    <a:pt x="461" y="23"/>
                    <a:pt x="464" y="22"/>
                    <a:pt x="466" y="22"/>
                  </a:cubicBezTo>
                  <a:cubicBezTo>
                    <a:pt x="468" y="22"/>
                    <a:pt x="469" y="23"/>
                    <a:pt x="470" y="24"/>
                  </a:cubicBezTo>
                  <a:cubicBezTo>
                    <a:pt x="471" y="24"/>
                    <a:pt x="471" y="25"/>
                    <a:pt x="471" y="27"/>
                  </a:cubicBezTo>
                  <a:cubicBezTo>
                    <a:pt x="471" y="28"/>
                    <a:pt x="471" y="30"/>
                    <a:pt x="470" y="32"/>
                  </a:cubicBezTo>
                  <a:cubicBezTo>
                    <a:pt x="464" y="62"/>
                    <a:pt x="464" y="62"/>
                    <a:pt x="464" y="62"/>
                  </a:cubicBezTo>
                  <a:cubicBezTo>
                    <a:pt x="472" y="62"/>
                    <a:pt x="472" y="62"/>
                    <a:pt x="472" y="62"/>
                  </a:cubicBezTo>
                  <a:cubicBezTo>
                    <a:pt x="478" y="33"/>
                    <a:pt x="478" y="33"/>
                    <a:pt x="478" y="33"/>
                  </a:cubicBezTo>
                  <a:cubicBezTo>
                    <a:pt x="479" y="30"/>
                    <a:pt x="479" y="27"/>
                    <a:pt x="479" y="26"/>
                  </a:cubicBezTo>
                  <a:cubicBezTo>
                    <a:pt x="479" y="23"/>
                    <a:pt x="478" y="20"/>
                    <a:pt x="476" y="19"/>
                  </a:cubicBezTo>
                  <a:cubicBezTo>
                    <a:pt x="474" y="17"/>
                    <a:pt x="471" y="16"/>
                    <a:pt x="468" y="16"/>
                  </a:cubicBezTo>
                  <a:cubicBezTo>
                    <a:pt x="465" y="16"/>
                    <a:pt x="462" y="17"/>
                    <a:pt x="460" y="18"/>
                  </a:cubicBezTo>
                  <a:cubicBezTo>
                    <a:pt x="457" y="19"/>
                    <a:pt x="455" y="22"/>
                    <a:pt x="453" y="24"/>
                  </a:cubicBezTo>
                  <a:cubicBezTo>
                    <a:pt x="452" y="22"/>
                    <a:pt x="451" y="20"/>
                    <a:pt x="449" y="18"/>
                  </a:cubicBezTo>
                  <a:cubicBezTo>
                    <a:pt x="447" y="17"/>
                    <a:pt x="445" y="16"/>
                    <a:pt x="442" y="16"/>
                  </a:cubicBezTo>
                  <a:cubicBezTo>
                    <a:pt x="439" y="16"/>
                    <a:pt x="437" y="17"/>
                    <a:pt x="435" y="18"/>
                  </a:cubicBezTo>
                  <a:cubicBezTo>
                    <a:pt x="432" y="19"/>
                    <a:pt x="430" y="21"/>
                    <a:pt x="427" y="24"/>
                  </a:cubicBezTo>
                  <a:cubicBezTo>
                    <a:pt x="429" y="17"/>
                    <a:pt x="429" y="17"/>
                    <a:pt x="429" y="17"/>
                  </a:cubicBezTo>
                  <a:cubicBezTo>
                    <a:pt x="421" y="17"/>
                    <a:pt x="421" y="17"/>
                    <a:pt x="421" y="17"/>
                  </a:cubicBezTo>
                  <a:cubicBezTo>
                    <a:pt x="412" y="62"/>
                    <a:pt x="412" y="62"/>
                    <a:pt x="412" y="62"/>
                  </a:cubicBezTo>
                  <a:lnTo>
                    <a:pt x="419" y="62"/>
                  </a:lnTo>
                  <a:close/>
                  <a:moveTo>
                    <a:pt x="392" y="62"/>
                  </a:moveTo>
                  <a:cubicBezTo>
                    <a:pt x="399" y="62"/>
                    <a:pt x="399" y="62"/>
                    <a:pt x="399" y="62"/>
                  </a:cubicBezTo>
                  <a:cubicBezTo>
                    <a:pt x="408" y="17"/>
                    <a:pt x="408" y="17"/>
                    <a:pt x="408" y="17"/>
                  </a:cubicBezTo>
                  <a:cubicBezTo>
                    <a:pt x="401" y="17"/>
                    <a:pt x="401" y="17"/>
                    <a:pt x="401" y="17"/>
                  </a:cubicBezTo>
                  <a:cubicBezTo>
                    <a:pt x="397" y="36"/>
                    <a:pt x="397" y="36"/>
                    <a:pt x="397" y="36"/>
                  </a:cubicBezTo>
                  <a:cubicBezTo>
                    <a:pt x="396" y="40"/>
                    <a:pt x="395" y="43"/>
                    <a:pt x="395" y="44"/>
                  </a:cubicBezTo>
                  <a:cubicBezTo>
                    <a:pt x="394" y="47"/>
                    <a:pt x="392" y="49"/>
                    <a:pt x="391" y="51"/>
                  </a:cubicBezTo>
                  <a:cubicBezTo>
                    <a:pt x="390" y="52"/>
                    <a:pt x="388" y="54"/>
                    <a:pt x="386" y="55"/>
                  </a:cubicBezTo>
                  <a:cubicBezTo>
                    <a:pt x="384" y="56"/>
                    <a:pt x="382" y="56"/>
                    <a:pt x="379" y="56"/>
                  </a:cubicBezTo>
                  <a:cubicBezTo>
                    <a:pt x="377" y="56"/>
                    <a:pt x="376" y="56"/>
                    <a:pt x="375" y="55"/>
                  </a:cubicBezTo>
                  <a:cubicBezTo>
                    <a:pt x="374" y="54"/>
                    <a:pt x="373" y="53"/>
                    <a:pt x="373" y="51"/>
                  </a:cubicBezTo>
                  <a:cubicBezTo>
                    <a:pt x="373" y="50"/>
                    <a:pt x="374" y="48"/>
                    <a:pt x="374" y="46"/>
                  </a:cubicBezTo>
                  <a:cubicBezTo>
                    <a:pt x="380" y="17"/>
                    <a:pt x="380" y="17"/>
                    <a:pt x="380" y="17"/>
                  </a:cubicBezTo>
                  <a:cubicBezTo>
                    <a:pt x="373" y="17"/>
                    <a:pt x="373" y="17"/>
                    <a:pt x="373" y="17"/>
                  </a:cubicBezTo>
                  <a:cubicBezTo>
                    <a:pt x="367" y="43"/>
                    <a:pt x="367" y="43"/>
                    <a:pt x="367" y="43"/>
                  </a:cubicBezTo>
                  <a:cubicBezTo>
                    <a:pt x="366" y="47"/>
                    <a:pt x="366" y="51"/>
                    <a:pt x="366" y="52"/>
                  </a:cubicBezTo>
                  <a:cubicBezTo>
                    <a:pt x="366" y="55"/>
                    <a:pt x="367" y="58"/>
                    <a:pt x="369" y="60"/>
                  </a:cubicBezTo>
                  <a:cubicBezTo>
                    <a:pt x="371" y="62"/>
                    <a:pt x="374" y="63"/>
                    <a:pt x="377" y="63"/>
                  </a:cubicBezTo>
                  <a:cubicBezTo>
                    <a:pt x="383" y="63"/>
                    <a:pt x="388" y="60"/>
                    <a:pt x="394" y="54"/>
                  </a:cubicBezTo>
                  <a:lnTo>
                    <a:pt x="392" y="62"/>
                  </a:lnTo>
                  <a:close/>
                  <a:moveTo>
                    <a:pt x="351" y="62"/>
                  </a:moveTo>
                  <a:cubicBezTo>
                    <a:pt x="358" y="28"/>
                    <a:pt x="358" y="28"/>
                    <a:pt x="358" y="28"/>
                  </a:cubicBezTo>
                  <a:cubicBezTo>
                    <a:pt x="364" y="0"/>
                    <a:pt x="364" y="0"/>
                    <a:pt x="364" y="0"/>
                  </a:cubicBezTo>
                  <a:cubicBezTo>
                    <a:pt x="356" y="0"/>
                    <a:pt x="356" y="0"/>
                    <a:pt x="356" y="0"/>
                  </a:cubicBezTo>
                  <a:cubicBezTo>
                    <a:pt x="350" y="27"/>
                    <a:pt x="350" y="27"/>
                    <a:pt x="350" y="27"/>
                  </a:cubicBezTo>
                  <a:cubicBezTo>
                    <a:pt x="343" y="62"/>
                    <a:pt x="343" y="62"/>
                    <a:pt x="343" y="62"/>
                  </a:cubicBezTo>
                  <a:lnTo>
                    <a:pt x="351" y="62"/>
                  </a:lnTo>
                  <a:close/>
                  <a:moveTo>
                    <a:pt x="325" y="49"/>
                  </a:moveTo>
                  <a:cubicBezTo>
                    <a:pt x="324" y="52"/>
                    <a:pt x="322" y="53"/>
                    <a:pt x="319" y="55"/>
                  </a:cubicBezTo>
                  <a:cubicBezTo>
                    <a:pt x="317" y="56"/>
                    <a:pt x="315" y="57"/>
                    <a:pt x="312" y="57"/>
                  </a:cubicBezTo>
                  <a:cubicBezTo>
                    <a:pt x="309" y="57"/>
                    <a:pt x="307" y="56"/>
                    <a:pt x="306" y="55"/>
                  </a:cubicBezTo>
                  <a:cubicBezTo>
                    <a:pt x="304" y="53"/>
                    <a:pt x="304" y="52"/>
                    <a:pt x="304" y="49"/>
                  </a:cubicBezTo>
                  <a:cubicBezTo>
                    <a:pt x="304" y="48"/>
                    <a:pt x="304" y="46"/>
                    <a:pt x="305" y="45"/>
                  </a:cubicBezTo>
                  <a:cubicBezTo>
                    <a:pt x="306" y="44"/>
                    <a:pt x="307" y="43"/>
                    <a:pt x="309" y="42"/>
                  </a:cubicBezTo>
                  <a:cubicBezTo>
                    <a:pt x="311" y="42"/>
                    <a:pt x="314" y="41"/>
                    <a:pt x="319" y="41"/>
                  </a:cubicBezTo>
                  <a:cubicBezTo>
                    <a:pt x="321" y="40"/>
                    <a:pt x="323" y="40"/>
                    <a:pt x="325" y="40"/>
                  </a:cubicBezTo>
                  <a:cubicBezTo>
                    <a:pt x="326" y="40"/>
                    <a:pt x="327" y="39"/>
                    <a:pt x="328" y="39"/>
                  </a:cubicBezTo>
                  <a:cubicBezTo>
                    <a:pt x="327" y="43"/>
                    <a:pt x="326" y="47"/>
                    <a:pt x="325" y="49"/>
                  </a:cubicBezTo>
                  <a:moveTo>
                    <a:pt x="326" y="62"/>
                  </a:moveTo>
                  <a:cubicBezTo>
                    <a:pt x="334" y="62"/>
                    <a:pt x="334" y="62"/>
                    <a:pt x="334" y="62"/>
                  </a:cubicBezTo>
                  <a:cubicBezTo>
                    <a:pt x="333" y="59"/>
                    <a:pt x="333" y="57"/>
                    <a:pt x="333" y="56"/>
                  </a:cubicBezTo>
                  <a:cubicBezTo>
                    <a:pt x="333" y="53"/>
                    <a:pt x="333" y="51"/>
                    <a:pt x="334" y="47"/>
                  </a:cubicBezTo>
                  <a:cubicBezTo>
                    <a:pt x="337" y="36"/>
                    <a:pt x="337" y="36"/>
                    <a:pt x="337" y="36"/>
                  </a:cubicBezTo>
                  <a:cubicBezTo>
                    <a:pt x="337" y="33"/>
                    <a:pt x="338" y="30"/>
                    <a:pt x="338" y="28"/>
                  </a:cubicBezTo>
                  <a:cubicBezTo>
                    <a:pt x="338" y="24"/>
                    <a:pt x="336" y="22"/>
                    <a:pt x="334" y="20"/>
                  </a:cubicBezTo>
                  <a:cubicBezTo>
                    <a:pt x="331" y="17"/>
                    <a:pt x="326" y="16"/>
                    <a:pt x="321" y="16"/>
                  </a:cubicBezTo>
                  <a:cubicBezTo>
                    <a:pt x="316" y="16"/>
                    <a:pt x="311" y="17"/>
                    <a:pt x="308" y="20"/>
                  </a:cubicBezTo>
                  <a:cubicBezTo>
                    <a:pt x="305" y="22"/>
                    <a:pt x="302" y="25"/>
                    <a:pt x="300" y="30"/>
                  </a:cubicBezTo>
                  <a:cubicBezTo>
                    <a:pt x="308" y="30"/>
                    <a:pt x="308" y="30"/>
                    <a:pt x="308" y="30"/>
                  </a:cubicBezTo>
                  <a:cubicBezTo>
                    <a:pt x="309" y="28"/>
                    <a:pt x="311" y="26"/>
                    <a:pt x="313" y="24"/>
                  </a:cubicBezTo>
                  <a:cubicBezTo>
                    <a:pt x="315" y="23"/>
                    <a:pt x="317" y="22"/>
                    <a:pt x="320" y="22"/>
                  </a:cubicBezTo>
                  <a:cubicBezTo>
                    <a:pt x="324" y="22"/>
                    <a:pt x="326" y="23"/>
                    <a:pt x="328" y="24"/>
                  </a:cubicBezTo>
                  <a:cubicBezTo>
                    <a:pt x="330" y="25"/>
                    <a:pt x="330" y="27"/>
                    <a:pt x="330" y="28"/>
                  </a:cubicBezTo>
                  <a:cubicBezTo>
                    <a:pt x="330" y="30"/>
                    <a:pt x="330" y="32"/>
                    <a:pt x="329" y="34"/>
                  </a:cubicBezTo>
                  <a:cubicBezTo>
                    <a:pt x="327" y="34"/>
                    <a:pt x="324" y="35"/>
                    <a:pt x="319" y="35"/>
                  </a:cubicBezTo>
                  <a:cubicBezTo>
                    <a:pt x="314" y="35"/>
                    <a:pt x="311" y="36"/>
                    <a:pt x="309" y="36"/>
                  </a:cubicBezTo>
                  <a:cubicBezTo>
                    <a:pt x="307" y="36"/>
                    <a:pt x="304" y="37"/>
                    <a:pt x="302" y="38"/>
                  </a:cubicBezTo>
                  <a:cubicBezTo>
                    <a:pt x="300" y="40"/>
                    <a:pt x="299" y="41"/>
                    <a:pt x="298" y="43"/>
                  </a:cubicBezTo>
                  <a:cubicBezTo>
                    <a:pt x="297" y="45"/>
                    <a:pt x="296" y="47"/>
                    <a:pt x="296" y="50"/>
                  </a:cubicBezTo>
                  <a:cubicBezTo>
                    <a:pt x="296" y="54"/>
                    <a:pt x="297" y="57"/>
                    <a:pt x="300" y="59"/>
                  </a:cubicBezTo>
                  <a:cubicBezTo>
                    <a:pt x="302" y="62"/>
                    <a:pt x="306" y="63"/>
                    <a:pt x="310" y="63"/>
                  </a:cubicBezTo>
                  <a:cubicBezTo>
                    <a:pt x="313" y="63"/>
                    <a:pt x="315" y="62"/>
                    <a:pt x="318" y="61"/>
                  </a:cubicBezTo>
                  <a:cubicBezTo>
                    <a:pt x="320" y="60"/>
                    <a:pt x="323" y="58"/>
                    <a:pt x="325" y="56"/>
                  </a:cubicBezTo>
                  <a:cubicBezTo>
                    <a:pt x="325" y="58"/>
                    <a:pt x="326" y="60"/>
                    <a:pt x="326" y="62"/>
                  </a:cubicBezTo>
                  <a:moveTo>
                    <a:pt x="239" y="25"/>
                  </a:moveTo>
                  <a:cubicBezTo>
                    <a:pt x="242" y="23"/>
                    <a:pt x="245" y="22"/>
                    <a:pt x="248" y="22"/>
                  </a:cubicBezTo>
                  <a:cubicBezTo>
                    <a:pt x="251" y="22"/>
                    <a:pt x="253" y="23"/>
                    <a:pt x="255" y="25"/>
                  </a:cubicBezTo>
                  <a:cubicBezTo>
                    <a:pt x="257" y="27"/>
                    <a:pt x="258" y="30"/>
                    <a:pt x="258" y="34"/>
                  </a:cubicBezTo>
                  <a:cubicBezTo>
                    <a:pt x="258" y="34"/>
                    <a:pt x="258" y="35"/>
                    <a:pt x="258" y="35"/>
                  </a:cubicBezTo>
                  <a:cubicBezTo>
                    <a:pt x="233" y="35"/>
                    <a:pt x="233" y="35"/>
                    <a:pt x="233" y="35"/>
                  </a:cubicBezTo>
                  <a:cubicBezTo>
                    <a:pt x="234" y="31"/>
                    <a:pt x="236" y="28"/>
                    <a:pt x="239" y="25"/>
                  </a:cubicBezTo>
                  <a:moveTo>
                    <a:pt x="249" y="54"/>
                  </a:moveTo>
                  <a:cubicBezTo>
                    <a:pt x="247" y="56"/>
                    <a:pt x="244" y="56"/>
                    <a:pt x="242" y="56"/>
                  </a:cubicBezTo>
                  <a:cubicBezTo>
                    <a:pt x="239" y="56"/>
                    <a:pt x="236" y="55"/>
                    <a:pt x="235" y="53"/>
                  </a:cubicBezTo>
                  <a:cubicBezTo>
                    <a:pt x="233" y="51"/>
                    <a:pt x="232" y="48"/>
                    <a:pt x="232" y="44"/>
                  </a:cubicBezTo>
                  <a:cubicBezTo>
                    <a:pt x="232" y="43"/>
                    <a:pt x="232" y="42"/>
                    <a:pt x="232" y="41"/>
                  </a:cubicBezTo>
                  <a:cubicBezTo>
                    <a:pt x="265" y="41"/>
                    <a:pt x="265" y="41"/>
                    <a:pt x="265" y="41"/>
                  </a:cubicBezTo>
                  <a:cubicBezTo>
                    <a:pt x="265" y="39"/>
                    <a:pt x="265" y="37"/>
                    <a:pt x="265" y="35"/>
                  </a:cubicBezTo>
                  <a:cubicBezTo>
                    <a:pt x="265" y="29"/>
                    <a:pt x="264" y="24"/>
                    <a:pt x="261" y="21"/>
                  </a:cubicBezTo>
                  <a:cubicBezTo>
                    <a:pt x="257" y="18"/>
                    <a:pt x="253" y="16"/>
                    <a:pt x="248" y="16"/>
                  </a:cubicBezTo>
                  <a:cubicBezTo>
                    <a:pt x="244" y="16"/>
                    <a:pt x="240" y="17"/>
                    <a:pt x="236" y="19"/>
                  </a:cubicBezTo>
                  <a:cubicBezTo>
                    <a:pt x="233" y="22"/>
                    <a:pt x="230" y="25"/>
                    <a:pt x="227" y="30"/>
                  </a:cubicBezTo>
                  <a:cubicBezTo>
                    <a:pt x="225" y="34"/>
                    <a:pt x="224" y="39"/>
                    <a:pt x="224" y="44"/>
                  </a:cubicBezTo>
                  <a:cubicBezTo>
                    <a:pt x="224" y="48"/>
                    <a:pt x="225" y="51"/>
                    <a:pt x="226" y="54"/>
                  </a:cubicBezTo>
                  <a:cubicBezTo>
                    <a:pt x="228" y="57"/>
                    <a:pt x="230" y="59"/>
                    <a:pt x="232" y="60"/>
                  </a:cubicBezTo>
                  <a:cubicBezTo>
                    <a:pt x="235" y="62"/>
                    <a:pt x="238" y="63"/>
                    <a:pt x="242" y="63"/>
                  </a:cubicBezTo>
                  <a:cubicBezTo>
                    <a:pt x="247" y="63"/>
                    <a:pt x="251" y="61"/>
                    <a:pt x="255" y="58"/>
                  </a:cubicBezTo>
                  <a:cubicBezTo>
                    <a:pt x="259" y="54"/>
                    <a:pt x="262" y="51"/>
                    <a:pt x="263" y="47"/>
                  </a:cubicBezTo>
                  <a:cubicBezTo>
                    <a:pt x="255" y="47"/>
                    <a:pt x="255" y="47"/>
                    <a:pt x="255" y="47"/>
                  </a:cubicBezTo>
                  <a:cubicBezTo>
                    <a:pt x="254" y="50"/>
                    <a:pt x="252" y="52"/>
                    <a:pt x="249" y="54"/>
                  </a:cubicBezTo>
                  <a:moveTo>
                    <a:pt x="200" y="62"/>
                  </a:moveTo>
                  <a:cubicBezTo>
                    <a:pt x="204" y="44"/>
                    <a:pt x="204" y="44"/>
                    <a:pt x="204" y="44"/>
                  </a:cubicBezTo>
                  <a:cubicBezTo>
                    <a:pt x="206" y="36"/>
                    <a:pt x="208" y="31"/>
                    <a:pt x="211" y="28"/>
                  </a:cubicBezTo>
                  <a:cubicBezTo>
                    <a:pt x="214" y="25"/>
                    <a:pt x="216" y="23"/>
                    <a:pt x="219" y="23"/>
                  </a:cubicBezTo>
                  <a:cubicBezTo>
                    <a:pt x="221" y="23"/>
                    <a:pt x="222" y="24"/>
                    <a:pt x="223" y="25"/>
                  </a:cubicBezTo>
                  <a:cubicBezTo>
                    <a:pt x="226" y="18"/>
                    <a:pt x="226" y="18"/>
                    <a:pt x="226" y="18"/>
                  </a:cubicBezTo>
                  <a:cubicBezTo>
                    <a:pt x="224" y="17"/>
                    <a:pt x="222" y="16"/>
                    <a:pt x="221" y="16"/>
                  </a:cubicBezTo>
                  <a:cubicBezTo>
                    <a:pt x="219" y="16"/>
                    <a:pt x="216" y="17"/>
                    <a:pt x="214" y="18"/>
                  </a:cubicBezTo>
                  <a:cubicBezTo>
                    <a:pt x="212" y="20"/>
                    <a:pt x="210" y="23"/>
                    <a:pt x="207" y="26"/>
                  </a:cubicBezTo>
                  <a:cubicBezTo>
                    <a:pt x="209" y="17"/>
                    <a:pt x="209" y="17"/>
                    <a:pt x="209" y="17"/>
                  </a:cubicBezTo>
                  <a:cubicBezTo>
                    <a:pt x="203" y="17"/>
                    <a:pt x="203" y="17"/>
                    <a:pt x="203" y="17"/>
                  </a:cubicBezTo>
                  <a:cubicBezTo>
                    <a:pt x="193" y="62"/>
                    <a:pt x="193" y="62"/>
                    <a:pt x="193" y="62"/>
                  </a:cubicBezTo>
                  <a:lnTo>
                    <a:pt x="200" y="62"/>
                  </a:lnTo>
                  <a:close/>
                  <a:moveTo>
                    <a:pt x="175" y="49"/>
                  </a:moveTo>
                  <a:cubicBezTo>
                    <a:pt x="173" y="52"/>
                    <a:pt x="171" y="53"/>
                    <a:pt x="169" y="55"/>
                  </a:cubicBezTo>
                  <a:cubicBezTo>
                    <a:pt x="167" y="56"/>
                    <a:pt x="164" y="57"/>
                    <a:pt x="162" y="57"/>
                  </a:cubicBezTo>
                  <a:cubicBezTo>
                    <a:pt x="159" y="57"/>
                    <a:pt x="157" y="56"/>
                    <a:pt x="155" y="55"/>
                  </a:cubicBezTo>
                  <a:cubicBezTo>
                    <a:pt x="154" y="53"/>
                    <a:pt x="153" y="52"/>
                    <a:pt x="153" y="49"/>
                  </a:cubicBezTo>
                  <a:cubicBezTo>
                    <a:pt x="153" y="48"/>
                    <a:pt x="154" y="46"/>
                    <a:pt x="155" y="45"/>
                  </a:cubicBezTo>
                  <a:cubicBezTo>
                    <a:pt x="156" y="44"/>
                    <a:pt x="157" y="43"/>
                    <a:pt x="159" y="42"/>
                  </a:cubicBezTo>
                  <a:cubicBezTo>
                    <a:pt x="161" y="42"/>
                    <a:pt x="164" y="41"/>
                    <a:pt x="168" y="41"/>
                  </a:cubicBezTo>
                  <a:cubicBezTo>
                    <a:pt x="171" y="40"/>
                    <a:pt x="173" y="40"/>
                    <a:pt x="174" y="40"/>
                  </a:cubicBezTo>
                  <a:cubicBezTo>
                    <a:pt x="176" y="40"/>
                    <a:pt x="177" y="39"/>
                    <a:pt x="178" y="39"/>
                  </a:cubicBezTo>
                  <a:cubicBezTo>
                    <a:pt x="177" y="43"/>
                    <a:pt x="176" y="47"/>
                    <a:pt x="175" y="49"/>
                  </a:cubicBezTo>
                  <a:moveTo>
                    <a:pt x="176" y="62"/>
                  </a:moveTo>
                  <a:cubicBezTo>
                    <a:pt x="184" y="62"/>
                    <a:pt x="184" y="62"/>
                    <a:pt x="184" y="62"/>
                  </a:cubicBezTo>
                  <a:cubicBezTo>
                    <a:pt x="183" y="59"/>
                    <a:pt x="183" y="57"/>
                    <a:pt x="183" y="56"/>
                  </a:cubicBezTo>
                  <a:cubicBezTo>
                    <a:pt x="183" y="53"/>
                    <a:pt x="183" y="51"/>
                    <a:pt x="184" y="47"/>
                  </a:cubicBezTo>
                  <a:cubicBezTo>
                    <a:pt x="186" y="36"/>
                    <a:pt x="186" y="36"/>
                    <a:pt x="186" y="36"/>
                  </a:cubicBezTo>
                  <a:cubicBezTo>
                    <a:pt x="187" y="33"/>
                    <a:pt x="187" y="30"/>
                    <a:pt x="187" y="28"/>
                  </a:cubicBezTo>
                  <a:cubicBezTo>
                    <a:pt x="187" y="24"/>
                    <a:pt x="186" y="22"/>
                    <a:pt x="184" y="20"/>
                  </a:cubicBezTo>
                  <a:cubicBezTo>
                    <a:pt x="180" y="17"/>
                    <a:pt x="176" y="16"/>
                    <a:pt x="170" y="16"/>
                  </a:cubicBezTo>
                  <a:cubicBezTo>
                    <a:pt x="165" y="16"/>
                    <a:pt x="161" y="17"/>
                    <a:pt x="158" y="20"/>
                  </a:cubicBezTo>
                  <a:cubicBezTo>
                    <a:pt x="154" y="22"/>
                    <a:pt x="152" y="25"/>
                    <a:pt x="150" y="30"/>
                  </a:cubicBezTo>
                  <a:cubicBezTo>
                    <a:pt x="158" y="30"/>
                    <a:pt x="158" y="30"/>
                    <a:pt x="158" y="30"/>
                  </a:cubicBezTo>
                  <a:cubicBezTo>
                    <a:pt x="159" y="28"/>
                    <a:pt x="160" y="26"/>
                    <a:pt x="162" y="24"/>
                  </a:cubicBezTo>
                  <a:cubicBezTo>
                    <a:pt x="164" y="23"/>
                    <a:pt x="167" y="22"/>
                    <a:pt x="170" y="22"/>
                  </a:cubicBezTo>
                  <a:cubicBezTo>
                    <a:pt x="173" y="22"/>
                    <a:pt x="176" y="23"/>
                    <a:pt x="178" y="24"/>
                  </a:cubicBezTo>
                  <a:cubicBezTo>
                    <a:pt x="179" y="25"/>
                    <a:pt x="180" y="27"/>
                    <a:pt x="180" y="28"/>
                  </a:cubicBezTo>
                  <a:cubicBezTo>
                    <a:pt x="180" y="30"/>
                    <a:pt x="179" y="32"/>
                    <a:pt x="179" y="34"/>
                  </a:cubicBezTo>
                  <a:cubicBezTo>
                    <a:pt x="177" y="34"/>
                    <a:pt x="173" y="35"/>
                    <a:pt x="169" y="35"/>
                  </a:cubicBezTo>
                  <a:cubicBezTo>
                    <a:pt x="164" y="35"/>
                    <a:pt x="161" y="36"/>
                    <a:pt x="159" y="36"/>
                  </a:cubicBezTo>
                  <a:cubicBezTo>
                    <a:pt x="156" y="36"/>
                    <a:pt x="154" y="37"/>
                    <a:pt x="152" y="38"/>
                  </a:cubicBezTo>
                  <a:cubicBezTo>
                    <a:pt x="150" y="40"/>
                    <a:pt x="149" y="41"/>
                    <a:pt x="147" y="43"/>
                  </a:cubicBezTo>
                  <a:cubicBezTo>
                    <a:pt x="146" y="45"/>
                    <a:pt x="146" y="47"/>
                    <a:pt x="146" y="50"/>
                  </a:cubicBezTo>
                  <a:cubicBezTo>
                    <a:pt x="146" y="54"/>
                    <a:pt x="147" y="57"/>
                    <a:pt x="149" y="59"/>
                  </a:cubicBezTo>
                  <a:cubicBezTo>
                    <a:pt x="152" y="62"/>
                    <a:pt x="155" y="63"/>
                    <a:pt x="159" y="63"/>
                  </a:cubicBezTo>
                  <a:cubicBezTo>
                    <a:pt x="162" y="63"/>
                    <a:pt x="165" y="62"/>
                    <a:pt x="167" y="61"/>
                  </a:cubicBezTo>
                  <a:cubicBezTo>
                    <a:pt x="170" y="60"/>
                    <a:pt x="172" y="58"/>
                    <a:pt x="175" y="56"/>
                  </a:cubicBezTo>
                  <a:cubicBezTo>
                    <a:pt x="175" y="58"/>
                    <a:pt x="175" y="60"/>
                    <a:pt x="176" y="62"/>
                  </a:cubicBezTo>
                  <a:moveTo>
                    <a:pt x="89" y="25"/>
                  </a:moveTo>
                  <a:cubicBezTo>
                    <a:pt x="91" y="23"/>
                    <a:pt x="94" y="22"/>
                    <a:pt x="98" y="22"/>
                  </a:cubicBezTo>
                  <a:cubicBezTo>
                    <a:pt x="101" y="22"/>
                    <a:pt x="103" y="23"/>
                    <a:pt x="105" y="25"/>
                  </a:cubicBezTo>
                  <a:cubicBezTo>
                    <a:pt x="107" y="27"/>
                    <a:pt x="108" y="30"/>
                    <a:pt x="108" y="34"/>
                  </a:cubicBezTo>
                  <a:cubicBezTo>
                    <a:pt x="108" y="34"/>
                    <a:pt x="108" y="35"/>
                    <a:pt x="108" y="35"/>
                  </a:cubicBezTo>
                  <a:cubicBezTo>
                    <a:pt x="83" y="35"/>
                    <a:pt x="83" y="35"/>
                    <a:pt x="83" y="35"/>
                  </a:cubicBezTo>
                  <a:cubicBezTo>
                    <a:pt x="84" y="31"/>
                    <a:pt x="86" y="28"/>
                    <a:pt x="89" y="25"/>
                  </a:cubicBezTo>
                  <a:moveTo>
                    <a:pt x="99" y="54"/>
                  </a:moveTo>
                  <a:cubicBezTo>
                    <a:pt x="96" y="56"/>
                    <a:pt x="94" y="56"/>
                    <a:pt x="91" y="56"/>
                  </a:cubicBezTo>
                  <a:cubicBezTo>
                    <a:pt x="88" y="56"/>
                    <a:pt x="86" y="55"/>
                    <a:pt x="84" y="53"/>
                  </a:cubicBezTo>
                  <a:cubicBezTo>
                    <a:pt x="82" y="51"/>
                    <a:pt x="81" y="48"/>
                    <a:pt x="81" y="44"/>
                  </a:cubicBezTo>
                  <a:cubicBezTo>
                    <a:pt x="81" y="43"/>
                    <a:pt x="81" y="42"/>
                    <a:pt x="81" y="41"/>
                  </a:cubicBezTo>
                  <a:cubicBezTo>
                    <a:pt x="114" y="41"/>
                    <a:pt x="114" y="41"/>
                    <a:pt x="114" y="41"/>
                  </a:cubicBezTo>
                  <a:cubicBezTo>
                    <a:pt x="115" y="39"/>
                    <a:pt x="115" y="37"/>
                    <a:pt x="115" y="35"/>
                  </a:cubicBezTo>
                  <a:cubicBezTo>
                    <a:pt x="115" y="29"/>
                    <a:pt x="113" y="24"/>
                    <a:pt x="110" y="21"/>
                  </a:cubicBezTo>
                  <a:cubicBezTo>
                    <a:pt x="107" y="18"/>
                    <a:pt x="103" y="16"/>
                    <a:pt x="97" y="16"/>
                  </a:cubicBezTo>
                  <a:cubicBezTo>
                    <a:pt x="93" y="16"/>
                    <a:pt x="89" y="17"/>
                    <a:pt x="86" y="19"/>
                  </a:cubicBezTo>
                  <a:cubicBezTo>
                    <a:pt x="82" y="22"/>
                    <a:pt x="79" y="25"/>
                    <a:pt x="77" y="30"/>
                  </a:cubicBezTo>
                  <a:cubicBezTo>
                    <a:pt x="75" y="34"/>
                    <a:pt x="74" y="39"/>
                    <a:pt x="74" y="44"/>
                  </a:cubicBezTo>
                  <a:cubicBezTo>
                    <a:pt x="74" y="48"/>
                    <a:pt x="74" y="51"/>
                    <a:pt x="76" y="54"/>
                  </a:cubicBezTo>
                  <a:cubicBezTo>
                    <a:pt x="77" y="57"/>
                    <a:pt x="79" y="59"/>
                    <a:pt x="82" y="60"/>
                  </a:cubicBezTo>
                  <a:cubicBezTo>
                    <a:pt x="85" y="62"/>
                    <a:pt x="88" y="63"/>
                    <a:pt x="91" y="63"/>
                  </a:cubicBezTo>
                  <a:cubicBezTo>
                    <a:pt x="96" y="63"/>
                    <a:pt x="101" y="61"/>
                    <a:pt x="105" y="58"/>
                  </a:cubicBezTo>
                  <a:cubicBezTo>
                    <a:pt x="109" y="54"/>
                    <a:pt x="111" y="51"/>
                    <a:pt x="112" y="47"/>
                  </a:cubicBezTo>
                  <a:cubicBezTo>
                    <a:pt x="105" y="47"/>
                    <a:pt x="105" y="47"/>
                    <a:pt x="105" y="47"/>
                  </a:cubicBezTo>
                  <a:cubicBezTo>
                    <a:pt x="103" y="50"/>
                    <a:pt x="101" y="52"/>
                    <a:pt x="99" y="54"/>
                  </a:cubicBezTo>
                  <a:moveTo>
                    <a:pt x="12" y="62"/>
                  </a:moveTo>
                  <a:cubicBezTo>
                    <a:pt x="33" y="22"/>
                    <a:pt x="33" y="22"/>
                    <a:pt x="33" y="22"/>
                  </a:cubicBezTo>
                  <a:cubicBezTo>
                    <a:pt x="34" y="19"/>
                    <a:pt x="36" y="16"/>
                    <a:pt x="38" y="13"/>
                  </a:cubicBezTo>
                  <a:cubicBezTo>
                    <a:pt x="38" y="17"/>
                    <a:pt x="38" y="21"/>
                    <a:pt x="38" y="24"/>
                  </a:cubicBezTo>
                  <a:cubicBezTo>
                    <a:pt x="40" y="62"/>
                    <a:pt x="40" y="62"/>
                    <a:pt x="40" y="62"/>
                  </a:cubicBezTo>
                  <a:cubicBezTo>
                    <a:pt x="49" y="62"/>
                    <a:pt x="49" y="62"/>
                    <a:pt x="49" y="62"/>
                  </a:cubicBezTo>
                  <a:cubicBezTo>
                    <a:pt x="80" y="0"/>
                    <a:pt x="80" y="0"/>
                    <a:pt x="80" y="0"/>
                  </a:cubicBezTo>
                  <a:cubicBezTo>
                    <a:pt x="72" y="0"/>
                    <a:pt x="72" y="0"/>
                    <a:pt x="72" y="0"/>
                  </a:cubicBezTo>
                  <a:cubicBezTo>
                    <a:pt x="54" y="35"/>
                    <a:pt x="54" y="35"/>
                    <a:pt x="54" y="35"/>
                  </a:cubicBezTo>
                  <a:cubicBezTo>
                    <a:pt x="53" y="37"/>
                    <a:pt x="52" y="40"/>
                    <a:pt x="50" y="45"/>
                  </a:cubicBezTo>
                  <a:cubicBezTo>
                    <a:pt x="48" y="47"/>
                    <a:pt x="48" y="50"/>
                    <a:pt x="47" y="51"/>
                  </a:cubicBezTo>
                  <a:cubicBezTo>
                    <a:pt x="47" y="45"/>
                    <a:pt x="47" y="40"/>
                    <a:pt x="47" y="36"/>
                  </a:cubicBezTo>
                  <a:cubicBezTo>
                    <a:pt x="45" y="0"/>
                    <a:pt x="45" y="0"/>
                    <a:pt x="45" y="0"/>
                  </a:cubicBezTo>
                  <a:cubicBezTo>
                    <a:pt x="36" y="0"/>
                    <a:pt x="36" y="0"/>
                    <a:pt x="36" y="0"/>
                  </a:cubicBezTo>
                  <a:cubicBezTo>
                    <a:pt x="17" y="36"/>
                    <a:pt x="17" y="36"/>
                    <a:pt x="17" y="36"/>
                  </a:cubicBezTo>
                  <a:cubicBezTo>
                    <a:pt x="16" y="38"/>
                    <a:pt x="13" y="43"/>
                    <a:pt x="10" y="50"/>
                  </a:cubicBezTo>
                  <a:cubicBezTo>
                    <a:pt x="10" y="48"/>
                    <a:pt x="10" y="47"/>
                    <a:pt x="10" y="46"/>
                  </a:cubicBezTo>
                  <a:cubicBezTo>
                    <a:pt x="10" y="45"/>
                    <a:pt x="10" y="44"/>
                    <a:pt x="10" y="42"/>
                  </a:cubicBezTo>
                  <a:cubicBezTo>
                    <a:pt x="10" y="36"/>
                    <a:pt x="9" y="32"/>
                    <a:pt x="9" y="31"/>
                  </a:cubicBezTo>
                  <a:cubicBezTo>
                    <a:pt x="8" y="0"/>
                    <a:pt x="8" y="0"/>
                    <a:pt x="8" y="0"/>
                  </a:cubicBezTo>
                  <a:cubicBezTo>
                    <a:pt x="0" y="0"/>
                    <a:pt x="0" y="0"/>
                    <a:pt x="0" y="0"/>
                  </a:cubicBezTo>
                  <a:cubicBezTo>
                    <a:pt x="3" y="62"/>
                    <a:pt x="3" y="62"/>
                    <a:pt x="3" y="62"/>
                  </a:cubicBezTo>
                  <a:lnTo>
                    <a:pt x="1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 name="Picture 2">
            <a:extLst>
              <a:ext uri="{FF2B5EF4-FFF2-40B4-BE49-F238E27FC236}">
                <a16:creationId xmlns:a16="http://schemas.microsoft.com/office/drawing/2014/main" id="{94A81AE7-89B1-4C9A-BEB0-68351ECC3E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85745" y="6127769"/>
            <a:ext cx="2259101" cy="204168"/>
          </a:xfrm>
          <a:prstGeom prst="rect">
            <a:avLst/>
          </a:prstGeom>
        </p:spPr>
      </p:pic>
    </p:spTree>
    <p:extLst>
      <p:ext uri="{BB962C8B-B14F-4D97-AF65-F5344CB8AC3E}">
        <p14:creationId xmlns:p14="http://schemas.microsoft.com/office/powerpoint/2010/main" val="28277934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Na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16332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Societ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12427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8577-BB97-4339-AFBC-79259DF8A1FA}"/>
              </a:ext>
            </a:extLst>
          </p:cNvPr>
          <p:cNvSpPr>
            <a:spLocks noGrp="1"/>
          </p:cNvSpPr>
          <p:nvPr>
            <p:ph type="ctrTitle"/>
          </p:nvPr>
        </p:nvSpPr>
        <p:spPr>
          <a:xfrm>
            <a:off x="897173" y="2602523"/>
            <a:ext cx="10355713" cy="2109520"/>
          </a:xfrm>
        </p:spPr>
        <p:txBody>
          <a:bodyPr anchor="t"/>
          <a:lstStyle>
            <a:lvl1pPr algn="l">
              <a:defRPr sz="6200" b="0">
                <a:solidFill>
                  <a:schemeClr val="bg1"/>
                </a:solidFill>
                <a:latin typeface="+mj-lt"/>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67929D3-3819-47A5-BE6C-9D26ED26F12B}"/>
              </a:ext>
            </a:extLst>
          </p:cNvPr>
          <p:cNvSpPr>
            <a:spLocks noGrp="1"/>
          </p:cNvSpPr>
          <p:nvPr>
            <p:ph type="subTitle" idx="1"/>
          </p:nvPr>
        </p:nvSpPr>
        <p:spPr>
          <a:xfrm>
            <a:off x="479425" y="5694110"/>
            <a:ext cx="11233150" cy="720000"/>
          </a:xfrm>
        </p:spPr>
        <p:txBody>
          <a:bodyPr anchor="b"/>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grpSp>
        <p:nvGrpSpPr>
          <p:cNvPr id="8" name="Group 4">
            <a:extLst>
              <a:ext uri="{FF2B5EF4-FFF2-40B4-BE49-F238E27FC236}">
                <a16:creationId xmlns:a16="http://schemas.microsoft.com/office/drawing/2014/main" id="{99CE317A-20B7-43B9-A332-9C49C9D36DF3}"/>
              </a:ext>
            </a:extLst>
          </p:cNvPr>
          <p:cNvGrpSpPr>
            <a:grpSpLocks noChangeAspect="1"/>
          </p:cNvGrpSpPr>
          <p:nvPr userDrawn="1"/>
        </p:nvGrpSpPr>
        <p:grpSpPr bwMode="auto">
          <a:xfrm>
            <a:off x="479423" y="476494"/>
            <a:ext cx="957847" cy="957042"/>
            <a:chOff x="569" y="259"/>
            <a:chExt cx="1190" cy="1189"/>
          </a:xfrm>
          <a:solidFill>
            <a:schemeClr val="bg1"/>
          </a:solidFill>
        </p:grpSpPr>
        <p:sp>
          <p:nvSpPr>
            <p:cNvPr id="10" name="Freeform 5">
              <a:extLst>
                <a:ext uri="{FF2B5EF4-FFF2-40B4-BE49-F238E27FC236}">
                  <a16:creationId xmlns:a16="http://schemas.microsoft.com/office/drawing/2014/main" id="{7448FBCD-A7A6-486F-A1DE-9A75F5F936CA}"/>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id="{208B472F-E4D2-42C7-83FA-77AC2B6D3FCD}"/>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5FE646-B0E1-411F-9DAF-6F9B1ECCD41B}"/>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C294DF12-B642-4FBE-A4BF-5A1D3DA8A305}"/>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309B3001-7DC5-4886-A949-055E5812553D}"/>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0D08063B-AE83-4F77-9A55-86EC7F38879A}"/>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8442031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3C3C0D-ABB1-4EA3-B42A-2C27A9E5E98D}"/>
              </a:ext>
            </a:extLst>
          </p:cNvPr>
          <p:cNvSpPr>
            <a:spLocks noGrp="1"/>
          </p:cNvSpPr>
          <p:nvPr>
            <p:ph type="title"/>
          </p:nvPr>
        </p:nvSpPr>
        <p:spPr>
          <a:xfrm>
            <a:off x="479425" y="441324"/>
            <a:ext cx="9200035" cy="5760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62BDAFE4-7822-4E3C-9E22-4E22A9545C71}"/>
              </a:ext>
            </a:extLst>
          </p:cNvPr>
          <p:cNvSpPr>
            <a:spLocks noGrp="1"/>
          </p:cNvSpPr>
          <p:nvPr>
            <p:ph type="body" idx="1"/>
          </p:nvPr>
        </p:nvSpPr>
        <p:spPr>
          <a:xfrm>
            <a:off x="479425" y="1989138"/>
            <a:ext cx="11233150" cy="417671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Footer Placeholder 4">
            <a:extLst>
              <a:ext uri="{FF2B5EF4-FFF2-40B4-BE49-F238E27FC236}">
                <a16:creationId xmlns:a16="http://schemas.microsoft.com/office/drawing/2014/main" id="{0A9E874E-25E5-43C0-934F-A1AFB4D030F8}"/>
              </a:ext>
            </a:extLst>
          </p:cNvPr>
          <p:cNvSpPr>
            <a:spLocks noGrp="1"/>
          </p:cNvSpPr>
          <p:nvPr>
            <p:ph type="ftr" sz="quarter" idx="3"/>
          </p:nvPr>
        </p:nvSpPr>
        <p:spPr>
          <a:xfrm>
            <a:off x="479424" y="6165850"/>
            <a:ext cx="9116215" cy="466725"/>
          </a:xfrm>
          <a:prstGeom prst="rect">
            <a:avLst/>
          </a:prstGeom>
        </p:spPr>
        <p:txBody>
          <a:bodyPr vert="horz" lIns="0" tIns="0" rIns="0" bIns="0" rtlCol="0" anchor="b"/>
          <a:lstStyle>
            <a:lvl1pPr algn="l">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2E5D8307-B9EB-4D44-8A70-B74B26536F1B}"/>
              </a:ext>
            </a:extLst>
          </p:cNvPr>
          <p:cNvSpPr>
            <a:spLocks noGrp="1"/>
          </p:cNvSpPr>
          <p:nvPr>
            <p:ph type="sldNum" sz="quarter" idx="4"/>
          </p:nvPr>
        </p:nvSpPr>
        <p:spPr>
          <a:xfrm>
            <a:off x="10973276" y="6416675"/>
            <a:ext cx="742991" cy="215900"/>
          </a:xfrm>
          <a:prstGeom prst="rect">
            <a:avLst/>
          </a:prstGeom>
        </p:spPr>
        <p:txBody>
          <a:bodyPr vert="horz" wrap="none" lIns="0" tIns="0" rIns="0" bIns="0" rtlCol="0" anchor="b"/>
          <a:lstStyle>
            <a:lvl1pPr algn="r">
              <a:defRPr sz="1200">
                <a:solidFill>
                  <a:schemeClr val="tx1">
                    <a:tint val="75000"/>
                  </a:schemeClr>
                </a:solidFill>
              </a:defRPr>
            </a:lvl1pPr>
          </a:lstStyle>
          <a:p>
            <a:fld id="{FB16AA9A-AFE6-4901-A70C-4F1A87BEB784}" type="slidenum">
              <a:rPr lang="en-GB" smtClean="0"/>
              <a:t>‹#›</a:t>
            </a:fld>
            <a:endParaRPr lang="en-GB"/>
          </a:p>
        </p:txBody>
      </p:sp>
      <p:sp>
        <p:nvSpPr>
          <p:cNvPr id="11" name="Date Placeholder 10">
            <a:extLst>
              <a:ext uri="{FF2B5EF4-FFF2-40B4-BE49-F238E27FC236}">
                <a16:creationId xmlns:a16="http://schemas.microsoft.com/office/drawing/2014/main" id="{0FDD8496-36A7-44F3-8E4F-22AAE25EE1E1}"/>
              </a:ext>
            </a:extLst>
          </p:cNvPr>
          <p:cNvSpPr>
            <a:spLocks noGrp="1"/>
          </p:cNvSpPr>
          <p:nvPr>
            <p:ph type="dt" sz="half" idx="2"/>
          </p:nvPr>
        </p:nvSpPr>
        <p:spPr>
          <a:xfrm>
            <a:off x="9679460" y="6416675"/>
            <a:ext cx="1209995" cy="215900"/>
          </a:xfrm>
          <a:prstGeom prst="rect">
            <a:avLst/>
          </a:prstGeom>
        </p:spPr>
        <p:txBody>
          <a:bodyPr vert="horz" wrap="square" lIns="0" tIns="0" rIns="0" bIns="0" rtlCol="0" anchor="b" anchorCtr="0"/>
          <a:lstStyle>
            <a:lvl1pPr algn="r">
              <a:defRPr sz="1200">
                <a:solidFill>
                  <a:schemeClr val="tx1">
                    <a:tint val="75000"/>
                  </a:schemeClr>
                </a:solidFill>
              </a:defRPr>
            </a:lvl1pPr>
          </a:lstStyle>
          <a:p>
            <a:endParaRPr lang="en-GB"/>
          </a:p>
        </p:txBody>
      </p:sp>
      <p:grpSp>
        <p:nvGrpSpPr>
          <p:cNvPr id="8" name="Group 4">
            <a:extLst>
              <a:ext uri="{FF2B5EF4-FFF2-40B4-BE49-F238E27FC236}">
                <a16:creationId xmlns:a16="http://schemas.microsoft.com/office/drawing/2014/main" id="{E88AFA65-60B2-47A7-828C-526A83AF2086}"/>
              </a:ext>
            </a:extLst>
          </p:cNvPr>
          <p:cNvGrpSpPr>
            <a:grpSpLocks noChangeAspect="1"/>
          </p:cNvGrpSpPr>
          <p:nvPr userDrawn="1"/>
        </p:nvGrpSpPr>
        <p:grpSpPr bwMode="auto">
          <a:xfrm>
            <a:off x="11210695" y="441325"/>
            <a:ext cx="501880" cy="501458"/>
            <a:chOff x="569" y="259"/>
            <a:chExt cx="1190" cy="1189"/>
          </a:xfrm>
          <a:solidFill>
            <a:schemeClr val="bg2"/>
          </a:solidFill>
        </p:grpSpPr>
        <p:sp>
          <p:nvSpPr>
            <p:cNvPr id="9" name="Freeform 5">
              <a:extLst>
                <a:ext uri="{FF2B5EF4-FFF2-40B4-BE49-F238E27FC236}">
                  <a16:creationId xmlns:a16="http://schemas.microsoft.com/office/drawing/2014/main" id="{F43FCB28-65AE-4089-98CA-D885C36C14FF}"/>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9309F9C1-9A58-45D8-B40E-DED85E7EDE30}"/>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A84EBC-2001-40EC-A5E3-D11DEE20CAD7}"/>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EDB79744-BCDE-4081-899C-CB162316CD6E}"/>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FBE31F44-5918-4F82-AFFA-9DF2912ACC74}"/>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BE8B76B2-DA99-453A-BF81-3D3B3D8CDE2B}"/>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645552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Lst>
  <p:hf hdr="0" ftr="0" dt="0"/>
  <p:txStyles>
    <p:titleStyle>
      <a:lvl1pPr algn="l" defTabSz="914400" rtl="0" eaLnBrk="1" latinLnBrk="0" hangingPunct="1">
        <a:lnSpc>
          <a:spcPct val="90000"/>
        </a:lnSpc>
        <a:spcBef>
          <a:spcPct val="0"/>
        </a:spcBef>
        <a:buNone/>
        <a:defRPr sz="3600" b="0" kern="1200">
          <a:solidFill>
            <a:schemeClr val="tx2"/>
          </a:solidFill>
          <a:latin typeface="+mj-lt"/>
          <a:ea typeface="+mj-ea"/>
          <a:cs typeface="+mj-cs"/>
        </a:defRPr>
      </a:lvl1pPr>
    </p:titleStyle>
    <p:bodyStyle>
      <a:lvl1pPr marL="182563" indent="-182563" algn="l" defTabSz="914400" rtl="0" eaLnBrk="1" latinLnBrk="0" hangingPunct="1">
        <a:lnSpc>
          <a:spcPct val="90000"/>
        </a:lnSpc>
        <a:spcBef>
          <a:spcPts val="1000"/>
        </a:spcBef>
        <a:buClrTx/>
        <a:buFont typeface="Arial" panose="020B0604020202020204" pitchFamily="34" charset="0"/>
        <a:buChar char="•"/>
        <a:defRPr sz="14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1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orient="horz" pos="278">
          <p15:clr>
            <a:srgbClr val="F26B43"/>
          </p15:clr>
        </p15:guide>
        <p15:guide id="3" orient="horz" pos="686">
          <p15:clr>
            <a:srgbClr val="F26B43"/>
          </p15:clr>
        </p15:guide>
        <p15:guide id="4" orient="horz" pos="3884">
          <p15:clr>
            <a:srgbClr val="F26B43"/>
          </p15:clr>
        </p15:guide>
        <p15:guide id="7" pos="302">
          <p15:clr>
            <a:srgbClr val="F26B43"/>
          </p15:clr>
        </p15:guide>
        <p15:guide id="8" pos="7378">
          <p15:clr>
            <a:srgbClr val="F26B43"/>
          </p15:clr>
        </p15:guide>
        <p15:guide id="9" orient="horz" pos="4178">
          <p15:clr>
            <a:srgbClr val="F26B43"/>
          </p15:clr>
        </p15:guide>
        <p15:guide id="10" orient="horz" pos="40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3C3C0D-ABB1-4EA3-B42A-2C27A9E5E98D}"/>
              </a:ext>
            </a:extLst>
          </p:cNvPr>
          <p:cNvSpPr>
            <a:spLocks noGrp="1"/>
          </p:cNvSpPr>
          <p:nvPr>
            <p:ph type="title"/>
          </p:nvPr>
        </p:nvSpPr>
        <p:spPr>
          <a:xfrm>
            <a:off x="479425" y="441325"/>
            <a:ext cx="9200035" cy="46672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2BDAFE4-7822-4E3C-9E22-4E22A9545C71}"/>
              </a:ext>
            </a:extLst>
          </p:cNvPr>
          <p:cNvSpPr>
            <a:spLocks noGrp="1"/>
          </p:cNvSpPr>
          <p:nvPr>
            <p:ph type="body" idx="1"/>
          </p:nvPr>
        </p:nvSpPr>
        <p:spPr>
          <a:xfrm>
            <a:off x="479425" y="1989138"/>
            <a:ext cx="11233150" cy="417671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0A9E874E-25E5-43C0-934F-A1AFB4D030F8}"/>
              </a:ext>
            </a:extLst>
          </p:cNvPr>
          <p:cNvSpPr>
            <a:spLocks noGrp="1"/>
          </p:cNvSpPr>
          <p:nvPr>
            <p:ph type="ftr" sz="quarter" idx="3"/>
          </p:nvPr>
        </p:nvSpPr>
        <p:spPr>
          <a:xfrm>
            <a:off x="479424" y="6416675"/>
            <a:ext cx="9116215" cy="215900"/>
          </a:xfrm>
          <a:prstGeom prst="rect">
            <a:avLst/>
          </a:prstGeom>
        </p:spPr>
        <p:txBody>
          <a:bodyPr vert="horz" lIns="0" tIns="0" rIns="0" bIns="0" rtlCol="0" anchor="b"/>
          <a:lstStyle>
            <a:lvl1pPr algn="l">
              <a:defRPr sz="1200">
                <a:solidFill>
                  <a:schemeClr val="tx1">
                    <a:tint val="75000"/>
                  </a:schemeClr>
                </a:solidFill>
              </a:defRPr>
            </a:lvl1pPr>
          </a:lstStyle>
          <a:p>
            <a:r>
              <a:rPr lang="en-GB"/>
              <a:t>Version 1</a:t>
            </a:r>
          </a:p>
        </p:txBody>
      </p:sp>
      <p:sp>
        <p:nvSpPr>
          <p:cNvPr id="6" name="Slide Number Placeholder 5">
            <a:extLst>
              <a:ext uri="{FF2B5EF4-FFF2-40B4-BE49-F238E27FC236}">
                <a16:creationId xmlns:a16="http://schemas.microsoft.com/office/drawing/2014/main" id="{2E5D8307-B9EB-4D44-8A70-B74B26536F1B}"/>
              </a:ext>
            </a:extLst>
          </p:cNvPr>
          <p:cNvSpPr>
            <a:spLocks noGrp="1"/>
          </p:cNvSpPr>
          <p:nvPr>
            <p:ph type="sldNum" sz="quarter" idx="4"/>
          </p:nvPr>
        </p:nvSpPr>
        <p:spPr>
          <a:xfrm>
            <a:off x="10973276" y="6416675"/>
            <a:ext cx="742991" cy="215900"/>
          </a:xfrm>
          <a:prstGeom prst="rect">
            <a:avLst/>
          </a:prstGeom>
        </p:spPr>
        <p:txBody>
          <a:bodyPr vert="horz" wrap="none" lIns="0" tIns="0" rIns="0" bIns="0" rtlCol="0" anchor="b"/>
          <a:lstStyle>
            <a:lvl1pPr algn="r">
              <a:defRPr sz="1200">
                <a:solidFill>
                  <a:schemeClr val="tx1">
                    <a:tint val="75000"/>
                  </a:schemeClr>
                </a:solidFill>
              </a:defRPr>
            </a:lvl1pPr>
          </a:lstStyle>
          <a:p>
            <a:fld id="{FB16AA9A-AFE6-4901-A70C-4F1A87BEB784}" type="slidenum">
              <a:rPr lang="en-GB" smtClean="0"/>
              <a:t>‹#›</a:t>
            </a:fld>
            <a:endParaRPr lang="en-GB"/>
          </a:p>
        </p:txBody>
      </p:sp>
      <p:sp>
        <p:nvSpPr>
          <p:cNvPr id="11" name="Date Placeholder 10">
            <a:extLst>
              <a:ext uri="{FF2B5EF4-FFF2-40B4-BE49-F238E27FC236}">
                <a16:creationId xmlns:a16="http://schemas.microsoft.com/office/drawing/2014/main" id="{0FDD8496-36A7-44F3-8E4F-22AAE25EE1E1}"/>
              </a:ext>
            </a:extLst>
          </p:cNvPr>
          <p:cNvSpPr>
            <a:spLocks noGrp="1"/>
          </p:cNvSpPr>
          <p:nvPr>
            <p:ph type="dt" sz="half" idx="2"/>
          </p:nvPr>
        </p:nvSpPr>
        <p:spPr>
          <a:xfrm>
            <a:off x="9679460" y="6416675"/>
            <a:ext cx="1209995" cy="215900"/>
          </a:xfrm>
          <a:prstGeom prst="rect">
            <a:avLst/>
          </a:prstGeom>
        </p:spPr>
        <p:txBody>
          <a:bodyPr vert="horz" wrap="square" lIns="0" tIns="0" rIns="0" bIns="0" rtlCol="0" anchor="b" anchorCtr="0"/>
          <a:lstStyle>
            <a:lvl1pPr algn="r">
              <a:defRPr sz="1200">
                <a:solidFill>
                  <a:schemeClr val="tx1">
                    <a:tint val="75000"/>
                  </a:schemeClr>
                </a:solidFill>
              </a:defRPr>
            </a:lvl1pPr>
          </a:lstStyle>
          <a:p>
            <a:endParaRPr lang="en-GB"/>
          </a:p>
        </p:txBody>
      </p:sp>
      <p:grpSp>
        <p:nvGrpSpPr>
          <p:cNvPr id="8" name="Group 4">
            <a:extLst>
              <a:ext uri="{FF2B5EF4-FFF2-40B4-BE49-F238E27FC236}">
                <a16:creationId xmlns:a16="http://schemas.microsoft.com/office/drawing/2014/main" id="{E88AFA65-60B2-47A7-828C-526A83AF2086}"/>
              </a:ext>
            </a:extLst>
          </p:cNvPr>
          <p:cNvGrpSpPr>
            <a:grpSpLocks noChangeAspect="1"/>
          </p:cNvGrpSpPr>
          <p:nvPr userDrawn="1"/>
        </p:nvGrpSpPr>
        <p:grpSpPr bwMode="auto">
          <a:xfrm>
            <a:off x="11210695" y="441325"/>
            <a:ext cx="501880" cy="501458"/>
            <a:chOff x="569" y="259"/>
            <a:chExt cx="1190" cy="1189"/>
          </a:xfrm>
          <a:solidFill>
            <a:schemeClr val="bg2"/>
          </a:solidFill>
        </p:grpSpPr>
        <p:sp>
          <p:nvSpPr>
            <p:cNvPr id="9" name="Freeform 5">
              <a:extLst>
                <a:ext uri="{FF2B5EF4-FFF2-40B4-BE49-F238E27FC236}">
                  <a16:creationId xmlns:a16="http://schemas.microsoft.com/office/drawing/2014/main" id="{F43FCB28-65AE-4089-98CA-D885C36C14FF}"/>
                </a:ext>
              </a:extLst>
            </p:cNvPr>
            <p:cNvSpPr>
              <a:spLocks/>
            </p:cNvSpPr>
            <p:nvPr userDrawn="1"/>
          </p:nvSpPr>
          <p:spPr bwMode="auto">
            <a:xfrm>
              <a:off x="569" y="1033"/>
              <a:ext cx="261" cy="332"/>
            </a:xfrm>
            <a:custGeom>
              <a:avLst/>
              <a:gdLst>
                <a:gd name="T0" fmla="*/ 59 w 261"/>
                <a:gd name="T1" fmla="*/ 187 h 332"/>
                <a:gd name="T2" fmla="*/ 59 w 261"/>
                <a:gd name="T3" fmla="*/ 332 h 332"/>
                <a:gd name="T4" fmla="*/ 0 w 261"/>
                <a:gd name="T5" fmla="*/ 332 h 332"/>
                <a:gd name="T6" fmla="*/ 0 w 261"/>
                <a:gd name="T7" fmla="*/ 0 h 332"/>
                <a:gd name="T8" fmla="*/ 59 w 261"/>
                <a:gd name="T9" fmla="*/ 0 h 332"/>
                <a:gd name="T10" fmla="*/ 59 w 261"/>
                <a:gd name="T11" fmla="*/ 135 h 332"/>
                <a:gd name="T12" fmla="*/ 202 w 261"/>
                <a:gd name="T13" fmla="*/ 135 h 332"/>
                <a:gd name="T14" fmla="*/ 202 w 261"/>
                <a:gd name="T15" fmla="*/ 0 h 332"/>
                <a:gd name="T16" fmla="*/ 261 w 261"/>
                <a:gd name="T17" fmla="*/ 0 h 332"/>
                <a:gd name="T18" fmla="*/ 261 w 261"/>
                <a:gd name="T19" fmla="*/ 332 h 332"/>
                <a:gd name="T20" fmla="*/ 202 w 261"/>
                <a:gd name="T21" fmla="*/ 332 h 332"/>
                <a:gd name="T22" fmla="*/ 202 w 261"/>
                <a:gd name="T23" fmla="*/ 187 h 332"/>
                <a:gd name="T24" fmla="*/ 59 w 261"/>
                <a:gd name="T25" fmla="*/ 18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332">
                  <a:moveTo>
                    <a:pt x="59" y="187"/>
                  </a:moveTo>
                  <a:lnTo>
                    <a:pt x="59" y="332"/>
                  </a:lnTo>
                  <a:lnTo>
                    <a:pt x="0" y="332"/>
                  </a:lnTo>
                  <a:lnTo>
                    <a:pt x="0" y="0"/>
                  </a:lnTo>
                  <a:lnTo>
                    <a:pt x="59" y="0"/>
                  </a:lnTo>
                  <a:lnTo>
                    <a:pt x="59" y="135"/>
                  </a:lnTo>
                  <a:lnTo>
                    <a:pt x="202" y="135"/>
                  </a:lnTo>
                  <a:lnTo>
                    <a:pt x="202" y="0"/>
                  </a:lnTo>
                  <a:lnTo>
                    <a:pt x="261" y="0"/>
                  </a:lnTo>
                  <a:lnTo>
                    <a:pt x="261" y="332"/>
                  </a:lnTo>
                  <a:lnTo>
                    <a:pt x="202" y="332"/>
                  </a:lnTo>
                  <a:lnTo>
                    <a:pt x="202" y="187"/>
                  </a:lnTo>
                  <a:lnTo>
                    <a:pt x="59"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9309F9C1-9A58-45D8-B40E-DED85E7EDE30}"/>
                </a:ext>
              </a:extLst>
            </p:cNvPr>
            <p:cNvSpPr>
              <a:spLocks/>
            </p:cNvSpPr>
            <p:nvPr userDrawn="1"/>
          </p:nvSpPr>
          <p:spPr bwMode="auto">
            <a:xfrm>
              <a:off x="853" y="1122"/>
              <a:ext cx="242" cy="326"/>
            </a:xfrm>
            <a:custGeom>
              <a:avLst/>
              <a:gdLst>
                <a:gd name="T0" fmla="*/ 31 w 140"/>
                <a:gd name="T1" fmla="*/ 189 h 189"/>
                <a:gd name="T2" fmla="*/ 53 w 140"/>
                <a:gd name="T3" fmla="*/ 137 h 189"/>
                <a:gd name="T4" fmla="*/ 0 w 140"/>
                <a:gd name="T5" fmla="*/ 0 h 189"/>
                <a:gd name="T6" fmla="*/ 36 w 140"/>
                <a:gd name="T7" fmla="*/ 0 h 189"/>
                <a:gd name="T8" fmla="*/ 70 w 140"/>
                <a:gd name="T9" fmla="*/ 101 h 189"/>
                <a:gd name="T10" fmla="*/ 104 w 140"/>
                <a:gd name="T11" fmla="*/ 0 h 189"/>
                <a:gd name="T12" fmla="*/ 140 w 140"/>
                <a:gd name="T13" fmla="*/ 0 h 189"/>
                <a:gd name="T14" fmla="*/ 64 w 140"/>
                <a:gd name="T15" fmla="*/ 189 h 189"/>
                <a:gd name="T16" fmla="*/ 31 w 140"/>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9">
                  <a:moveTo>
                    <a:pt x="31" y="189"/>
                  </a:moveTo>
                  <a:cubicBezTo>
                    <a:pt x="53" y="137"/>
                    <a:pt x="53" y="137"/>
                    <a:pt x="53" y="137"/>
                  </a:cubicBezTo>
                  <a:cubicBezTo>
                    <a:pt x="37" y="94"/>
                    <a:pt x="17" y="44"/>
                    <a:pt x="0" y="0"/>
                  </a:cubicBezTo>
                  <a:cubicBezTo>
                    <a:pt x="36" y="0"/>
                    <a:pt x="36" y="0"/>
                    <a:pt x="36" y="0"/>
                  </a:cubicBezTo>
                  <a:cubicBezTo>
                    <a:pt x="51" y="45"/>
                    <a:pt x="60" y="73"/>
                    <a:pt x="70" y="101"/>
                  </a:cubicBezTo>
                  <a:cubicBezTo>
                    <a:pt x="79" y="77"/>
                    <a:pt x="93" y="33"/>
                    <a:pt x="104" y="0"/>
                  </a:cubicBezTo>
                  <a:cubicBezTo>
                    <a:pt x="140" y="0"/>
                    <a:pt x="140" y="0"/>
                    <a:pt x="140" y="0"/>
                  </a:cubicBezTo>
                  <a:cubicBezTo>
                    <a:pt x="115" y="62"/>
                    <a:pt x="90" y="125"/>
                    <a:pt x="64" y="189"/>
                  </a:cubicBezTo>
                  <a:lnTo>
                    <a:pt x="31"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FCA84EBC-2001-40EC-A5E3-D11DEE20CAD7}"/>
                </a:ext>
              </a:extLst>
            </p:cNvPr>
            <p:cNvSpPr>
              <a:spLocks noEditPoints="1"/>
            </p:cNvSpPr>
            <p:nvPr userDrawn="1"/>
          </p:nvSpPr>
          <p:spPr bwMode="auto">
            <a:xfrm>
              <a:off x="1088" y="1033"/>
              <a:ext cx="251" cy="337"/>
            </a:xfrm>
            <a:custGeom>
              <a:avLst/>
              <a:gdLst>
                <a:gd name="T0" fmla="*/ 114 w 145"/>
                <a:gd name="T1" fmla="*/ 192 h 195"/>
                <a:gd name="T2" fmla="*/ 114 w 145"/>
                <a:gd name="T3" fmla="*/ 172 h 195"/>
                <a:gd name="T4" fmla="*/ 65 w 145"/>
                <a:gd name="T5" fmla="*/ 195 h 195"/>
                <a:gd name="T6" fmla="*/ 0 w 145"/>
                <a:gd name="T7" fmla="*/ 121 h 195"/>
                <a:gd name="T8" fmla="*/ 66 w 145"/>
                <a:gd name="T9" fmla="*/ 46 h 195"/>
                <a:gd name="T10" fmla="*/ 112 w 145"/>
                <a:gd name="T11" fmla="*/ 69 h 195"/>
                <a:gd name="T12" fmla="*/ 112 w 145"/>
                <a:gd name="T13" fmla="*/ 41 h 195"/>
                <a:gd name="T14" fmla="*/ 112 w 145"/>
                <a:gd name="T15" fmla="*/ 0 h 195"/>
                <a:gd name="T16" fmla="*/ 145 w 145"/>
                <a:gd name="T17" fmla="*/ 0 h 195"/>
                <a:gd name="T18" fmla="*/ 145 w 145"/>
                <a:gd name="T19" fmla="*/ 192 h 195"/>
                <a:gd name="T20" fmla="*/ 114 w 145"/>
                <a:gd name="T21" fmla="*/ 192 h 195"/>
                <a:gd name="T22" fmla="*/ 34 w 145"/>
                <a:gd name="T23" fmla="*/ 121 h 195"/>
                <a:gd name="T24" fmla="*/ 72 w 145"/>
                <a:gd name="T25" fmla="*/ 169 h 195"/>
                <a:gd name="T26" fmla="*/ 113 w 145"/>
                <a:gd name="T27" fmla="*/ 120 h 195"/>
                <a:gd name="T28" fmla="*/ 73 w 145"/>
                <a:gd name="T29" fmla="*/ 73 h 195"/>
                <a:gd name="T30" fmla="*/ 34 w 145"/>
                <a:gd name="T31" fmla="*/ 12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95">
                  <a:moveTo>
                    <a:pt x="114" y="192"/>
                  </a:moveTo>
                  <a:cubicBezTo>
                    <a:pt x="114" y="172"/>
                    <a:pt x="114" y="172"/>
                    <a:pt x="114" y="172"/>
                  </a:cubicBezTo>
                  <a:cubicBezTo>
                    <a:pt x="106" y="184"/>
                    <a:pt x="89" y="195"/>
                    <a:pt x="65" y="195"/>
                  </a:cubicBezTo>
                  <a:cubicBezTo>
                    <a:pt x="27" y="195"/>
                    <a:pt x="0" y="165"/>
                    <a:pt x="0" y="121"/>
                  </a:cubicBezTo>
                  <a:cubicBezTo>
                    <a:pt x="0" y="78"/>
                    <a:pt x="25" y="46"/>
                    <a:pt x="66" y="46"/>
                  </a:cubicBezTo>
                  <a:cubicBezTo>
                    <a:pt x="88" y="46"/>
                    <a:pt x="104" y="57"/>
                    <a:pt x="112" y="69"/>
                  </a:cubicBezTo>
                  <a:cubicBezTo>
                    <a:pt x="112" y="59"/>
                    <a:pt x="112" y="50"/>
                    <a:pt x="112" y="41"/>
                  </a:cubicBezTo>
                  <a:cubicBezTo>
                    <a:pt x="112" y="0"/>
                    <a:pt x="112" y="0"/>
                    <a:pt x="112" y="0"/>
                  </a:cubicBezTo>
                  <a:cubicBezTo>
                    <a:pt x="145" y="0"/>
                    <a:pt x="145" y="0"/>
                    <a:pt x="145" y="0"/>
                  </a:cubicBezTo>
                  <a:cubicBezTo>
                    <a:pt x="145" y="192"/>
                    <a:pt x="145" y="192"/>
                    <a:pt x="145" y="192"/>
                  </a:cubicBezTo>
                  <a:lnTo>
                    <a:pt x="114" y="192"/>
                  </a:lnTo>
                  <a:close/>
                  <a:moveTo>
                    <a:pt x="34" y="121"/>
                  </a:moveTo>
                  <a:cubicBezTo>
                    <a:pt x="34" y="148"/>
                    <a:pt x="48" y="169"/>
                    <a:pt x="72" y="169"/>
                  </a:cubicBezTo>
                  <a:cubicBezTo>
                    <a:pt x="98" y="169"/>
                    <a:pt x="113" y="148"/>
                    <a:pt x="113" y="120"/>
                  </a:cubicBezTo>
                  <a:cubicBezTo>
                    <a:pt x="113" y="93"/>
                    <a:pt x="96" y="73"/>
                    <a:pt x="73" y="73"/>
                  </a:cubicBezTo>
                  <a:cubicBezTo>
                    <a:pt x="48" y="73"/>
                    <a:pt x="34" y="95"/>
                    <a:pt x="3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EDB79744-BCDE-4081-899C-CB162316CD6E}"/>
                </a:ext>
              </a:extLst>
            </p:cNvPr>
            <p:cNvSpPr>
              <a:spLocks/>
            </p:cNvSpPr>
            <p:nvPr userDrawn="1"/>
          </p:nvSpPr>
          <p:spPr bwMode="auto">
            <a:xfrm>
              <a:off x="1375" y="1115"/>
              <a:ext cx="125" cy="250"/>
            </a:xfrm>
            <a:custGeom>
              <a:avLst/>
              <a:gdLst>
                <a:gd name="T0" fmla="*/ 30 w 72"/>
                <a:gd name="T1" fmla="*/ 3 h 145"/>
                <a:gd name="T2" fmla="*/ 30 w 72"/>
                <a:gd name="T3" fmla="*/ 13 h 145"/>
                <a:gd name="T4" fmla="*/ 30 w 72"/>
                <a:gd name="T5" fmla="*/ 23 h 145"/>
                <a:gd name="T6" fmla="*/ 64 w 72"/>
                <a:gd name="T7" fmla="*/ 0 h 145"/>
                <a:gd name="T8" fmla="*/ 72 w 72"/>
                <a:gd name="T9" fmla="*/ 1 h 145"/>
                <a:gd name="T10" fmla="*/ 72 w 72"/>
                <a:gd name="T11" fmla="*/ 32 h 145"/>
                <a:gd name="T12" fmla="*/ 63 w 72"/>
                <a:gd name="T13" fmla="*/ 31 h 145"/>
                <a:gd name="T14" fmla="*/ 33 w 72"/>
                <a:gd name="T15" fmla="*/ 78 h 145"/>
                <a:gd name="T16" fmla="*/ 33 w 72"/>
                <a:gd name="T17" fmla="*/ 145 h 145"/>
                <a:gd name="T18" fmla="*/ 0 w 72"/>
                <a:gd name="T19" fmla="*/ 145 h 145"/>
                <a:gd name="T20" fmla="*/ 0 w 72"/>
                <a:gd name="T21" fmla="*/ 29 h 145"/>
                <a:gd name="T22" fmla="*/ 0 w 72"/>
                <a:gd name="T23" fmla="*/ 3 h 145"/>
                <a:gd name="T24" fmla="*/ 30 w 72"/>
                <a:gd name="T25"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5">
                  <a:moveTo>
                    <a:pt x="30" y="3"/>
                  </a:moveTo>
                  <a:cubicBezTo>
                    <a:pt x="30" y="13"/>
                    <a:pt x="30" y="13"/>
                    <a:pt x="30" y="13"/>
                  </a:cubicBezTo>
                  <a:cubicBezTo>
                    <a:pt x="30" y="16"/>
                    <a:pt x="30" y="20"/>
                    <a:pt x="30" y="23"/>
                  </a:cubicBezTo>
                  <a:cubicBezTo>
                    <a:pt x="35" y="8"/>
                    <a:pt x="48" y="0"/>
                    <a:pt x="64" y="0"/>
                  </a:cubicBezTo>
                  <a:cubicBezTo>
                    <a:pt x="68" y="0"/>
                    <a:pt x="70" y="1"/>
                    <a:pt x="72" y="1"/>
                  </a:cubicBezTo>
                  <a:cubicBezTo>
                    <a:pt x="72" y="32"/>
                    <a:pt x="72" y="32"/>
                    <a:pt x="72" y="32"/>
                  </a:cubicBezTo>
                  <a:cubicBezTo>
                    <a:pt x="70" y="31"/>
                    <a:pt x="66" y="31"/>
                    <a:pt x="63" y="31"/>
                  </a:cubicBezTo>
                  <a:cubicBezTo>
                    <a:pt x="37" y="31"/>
                    <a:pt x="33" y="49"/>
                    <a:pt x="33" y="78"/>
                  </a:cubicBezTo>
                  <a:cubicBezTo>
                    <a:pt x="33" y="145"/>
                    <a:pt x="33" y="145"/>
                    <a:pt x="33" y="145"/>
                  </a:cubicBezTo>
                  <a:cubicBezTo>
                    <a:pt x="0" y="145"/>
                    <a:pt x="0" y="145"/>
                    <a:pt x="0" y="145"/>
                  </a:cubicBezTo>
                  <a:cubicBezTo>
                    <a:pt x="0" y="29"/>
                    <a:pt x="0" y="29"/>
                    <a:pt x="0" y="29"/>
                  </a:cubicBezTo>
                  <a:cubicBezTo>
                    <a:pt x="0" y="20"/>
                    <a:pt x="0" y="12"/>
                    <a:pt x="0" y="3"/>
                  </a:cubicBezTo>
                  <a:lnTo>
                    <a:pt x="3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FBE31F44-5918-4F82-AFFA-9DF2912ACC74}"/>
                </a:ext>
              </a:extLst>
            </p:cNvPr>
            <p:cNvSpPr>
              <a:spLocks noEditPoints="1"/>
            </p:cNvSpPr>
            <p:nvPr userDrawn="1"/>
          </p:nvSpPr>
          <p:spPr bwMode="auto">
            <a:xfrm>
              <a:off x="1505" y="1113"/>
              <a:ext cx="254" cy="259"/>
            </a:xfrm>
            <a:custGeom>
              <a:avLst/>
              <a:gdLst>
                <a:gd name="T0" fmla="*/ 147 w 147"/>
                <a:gd name="T1" fmla="*/ 75 h 150"/>
                <a:gd name="T2" fmla="*/ 73 w 147"/>
                <a:gd name="T3" fmla="*/ 150 h 150"/>
                <a:gd name="T4" fmla="*/ 0 w 147"/>
                <a:gd name="T5" fmla="*/ 75 h 150"/>
                <a:gd name="T6" fmla="*/ 73 w 147"/>
                <a:gd name="T7" fmla="*/ 0 h 150"/>
                <a:gd name="T8" fmla="*/ 147 w 147"/>
                <a:gd name="T9" fmla="*/ 75 h 150"/>
                <a:gd name="T10" fmla="*/ 33 w 147"/>
                <a:gd name="T11" fmla="*/ 75 h 150"/>
                <a:gd name="T12" fmla="*/ 73 w 147"/>
                <a:gd name="T13" fmla="*/ 123 h 150"/>
                <a:gd name="T14" fmla="*/ 112 w 147"/>
                <a:gd name="T15" fmla="*/ 75 h 150"/>
                <a:gd name="T16" fmla="*/ 73 w 147"/>
                <a:gd name="T17" fmla="*/ 27 h 150"/>
                <a:gd name="T18" fmla="*/ 33 w 147"/>
                <a:gd name="T19"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50">
                  <a:moveTo>
                    <a:pt x="147" y="75"/>
                  </a:moveTo>
                  <a:cubicBezTo>
                    <a:pt x="147" y="119"/>
                    <a:pt x="118" y="150"/>
                    <a:pt x="73" y="150"/>
                  </a:cubicBezTo>
                  <a:cubicBezTo>
                    <a:pt x="27" y="150"/>
                    <a:pt x="0" y="119"/>
                    <a:pt x="0" y="75"/>
                  </a:cubicBezTo>
                  <a:cubicBezTo>
                    <a:pt x="0" y="31"/>
                    <a:pt x="29" y="0"/>
                    <a:pt x="73" y="0"/>
                  </a:cubicBezTo>
                  <a:cubicBezTo>
                    <a:pt x="118" y="0"/>
                    <a:pt x="147" y="31"/>
                    <a:pt x="147" y="75"/>
                  </a:cubicBezTo>
                  <a:close/>
                  <a:moveTo>
                    <a:pt x="33" y="75"/>
                  </a:moveTo>
                  <a:cubicBezTo>
                    <a:pt x="33" y="104"/>
                    <a:pt x="48" y="123"/>
                    <a:pt x="73" y="123"/>
                  </a:cubicBezTo>
                  <a:cubicBezTo>
                    <a:pt x="98" y="123"/>
                    <a:pt x="112" y="104"/>
                    <a:pt x="112" y="75"/>
                  </a:cubicBezTo>
                  <a:cubicBezTo>
                    <a:pt x="112" y="47"/>
                    <a:pt x="97" y="27"/>
                    <a:pt x="73" y="27"/>
                  </a:cubicBezTo>
                  <a:cubicBezTo>
                    <a:pt x="48" y="27"/>
                    <a:pt x="33" y="47"/>
                    <a:pt x="33"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BE8B76B2-DA99-453A-BF81-3D3B3D8CDE2B}"/>
                </a:ext>
              </a:extLst>
            </p:cNvPr>
            <p:cNvSpPr>
              <a:spLocks noEditPoints="1"/>
            </p:cNvSpPr>
            <p:nvPr userDrawn="1"/>
          </p:nvSpPr>
          <p:spPr bwMode="auto">
            <a:xfrm>
              <a:off x="853" y="259"/>
              <a:ext cx="624" cy="624"/>
            </a:xfrm>
            <a:custGeom>
              <a:avLst/>
              <a:gdLst>
                <a:gd name="T0" fmla="*/ 180 w 361"/>
                <a:gd name="T1" fmla="*/ 0 h 361"/>
                <a:gd name="T2" fmla="*/ 9 w 361"/>
                <a:gd name="T3" fmla="*/ 0 h 361"/>
                <a:gd name="T4" fmla="*/ 0 w 361"/>
                <a:gd name="T5" fmla="*/ 10 h 361"/>
                <a:gd name="T6" fmla="*/ 9 w 361"/>
                <a:gd name="T7" fmla="*/ 19 h 361"/>
                <a:gd name="T8" fmla="*/ 171 w 361"/>
                <a:gd name="T9" fmla="*/ 181 h 361"/>
                <a:gd name="T10" fmla="*/ 9 w 361"/>
                <a:gd name="T11" fmla="*/ 343 h 361"/>
                <a:gd name="T12" fmla="*/ 0 w 361"/>
                <a:gd name="T13" fmla="*/ 352 h 361"/>
                <a:gd name="T14" fmla="*/ 9 w 361"/>
                <a:gd name="T15" fmla="*/ 361 h 361"/>
                <a:gd name="T16" fmla="*/ 180 w 361"/>
                <a:gd name="T17" fmla="*/ 361 h 361"/>
                <a:gd name="T18" fmla="*/ 361 w 361"/>
                <a:gd name="T19" fmla="*/ 181 h 361"/>
                <a:gd name="T20" fmla="*/ 180 w 361"/>
                <a:gd name="T21" fmla="*/ 0 h 361"/>
                <a:gd name="T22" fmla="*/ 150 w 361"/>
                <a:gd name="T23" fmla="*/ 341 h 361"/>
                <a:gd name="T24" fmla="*/ 247 w 361"/>
                <a:gd name="T25" fmla="*/ 181 h 361"/>
                <a:gd name="T26" fmla="*/ 150 w 361"/>
                <a:gd name="T27" fmla="*/ 21 h 361"/>
                <a:gd name="T28" fmla="*/ 285 w 361"/>
                <a:gd name="T29" fmla="*/ 181 h 361"/>
                <a:gd name="T30" fmla="*/ 150 w 361"/>
                <a:gd name="T31" fmla="*/ 341 h 361"/>
                <a:gd name="T32" fmla="*/ 189 w 361"/>
                <a:gd name="T33" fmla="*/ 181 h 361"/>
                <a:gd name="T34" fmla="*/ 93 w 361"/>
                <a:gd name="T35" fmla="*/ 21 h 361"/>
                <a:gd name="T36" fmla="*/ 228 w 361"/>
                <a:gd name="T37" fmla="*/ 181 h 361"/>
                <a:gd name="T38" fmla="*/ 93 w 361"/>
                <a:gd name="T39" fmla="*/ 341 h 361"/>
                <a:gd name="T40" fmla="*/ 189 w 361"/>
                <a:gd name="T41" fmla="*/ 181 h 361"/>
                <a:gd name="T42" fmla="*/ 207 w 361"/>
                <a:gd name="T43" fmla="*/ 341 h 361"/>
                <a:gd name="T44" fmla="*/ 304 w 361"/>
                <a:gd name="T45" fmla="*/ 181 h 361"/>
                <a:gd name="T46" fmla="*/ 207 w 361"/>
                <a:gd name="T47" fmla="*/ 21 h 361"/>
                <a:gd name="T48" fmla="*/ 342 w 361"/>
                <a:gd name="T49" fmla="*/ 181 h 361"/>
                <a:gd name="T50" fmla="*/ 207 w 361"/>
                <a:gd name="T51" fmla="*/ 34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1" h="361">
                  <a:moveTo>
                    <a:pt x="180" y="0"/>
                  </a:moveTo>
                  <a:cubicBezTo>
                    <a:pt x="9" y="0"/>
                    <a:pt x="9" y="0"/>
                    <a:pt x="9" y="0"/>
                  </a:cubicBezTo>
                  <a:cubicBezTo>
                    <a:pt x="4" y="0"/>
                    <a:pt x="0" y="5"/>
                    <a:pt x="0" y="10"/>
                  </a:cubicBezTo>
                  <a:cubicBezTo>
                    <a:pt x="0" y="15"/>
                    <a:pt x="4" y="19"/>
                    <a:pt x="9" y="19"/>
                  </a:cubicBezTo>
                  <a:cubicBezTo>
                    <a:pt x="98" y="19"/>
                    <a:pt x="171" y="92"/>
                    <a:pt x="171" y="181"/>
                  </a:cubicBezTo>
                  <a:cubicBezTo>
                    <a:pt x="171" y="270"/>
                    <a:pt x="98" y="343"/>
                    <a:pt x="9" y="343"/>
                  </a:cubicBezTo>
                  <a:cubicBezTo>
                    <a:pt x="4" y="343"/>
                    <a:pt x="0" y="347"/>
                    <a:pt x="0" y="352"/>
                  </a:cubicBezTo>
                  <a:cubicBezTo>
                    <a:pt x="0" y="357"/>
                    <a:pt x="4" y="361"/>
                    <a:pt x="9" y="361"/>
                  </a:cubicBezTo>
                  <a:cubicBezTo>
                    <a:pt x="180" y="361"/>
                    <a:pt x="180" y="361"/>
                    <a:pt x="180" y="361"/>
                  </a:cubicBezTo>
                  <a:cubicBezTo>
                    <a:pt x="280" y="361"/>
                    <a:pt x="361" y="280"/>
                    <a:pt x="361" y="181"/>
                  </a:cubicBezTo>
                  <a:cubicBezTo>
                    <a:pt x="361" y="81"/>
                    <a:pt x="280" y="0"/>
                    <a:pt x="180" y="0"/>
                  </a:cubicBezTo>
                  <a:close/>
                  <a:moveTo>
                    <a:pt x="150" y="341"/>
                  </a:moveTo>
                  <a:cubicBezTo>
                    <a:pt x="207" y="310"/>
                    <a:pt x="247" y="250"/>
                    <a:pt x="247" y="181"/>
                  </a:cubicBezTo>
                  <a:cubicBezTo>
                    <a:pt x="247" y="112"/>
                    <a:pt x="207" y="51"/>
                    <a:pt x="150" y="21"/>
                  </a:cubicBezTo>
                  <a:cubicBezTo>
                    <a:pt x="227" y="34"/>
                    <a:pt x="285" y="101"/>
                    <a:pt x="285" y="181"/>
                  </a:cubicBezTo>
                  <a:cubicBezTo>
                    <a:pt x="285" y="261"/>
                    <a:pt x="227" y="328"/>
                    <a:pt x="150" y="341"/>
                  </a:cubicBezTo>
                  <a:close/>
                  <a:moveTo>
                    <a:pt x="189" y="181"/>
                  </a:moveTo>
                  <a:cubicBezTo>
                    <a:pt x="189" y="112"/>
                    <a:pt x="150" y="51"/>
                    <a:pt x="93" y="21"/>
                  </a:cubicBezTo>
                  <a:cubicBezTo>
                    <a:pt x="170" y="34"/>
                    <a:pt x="228" y="101"/>
                    <a:pt x="228" y="181"/>
                  </a:cubicBezTo>
                  <a:cubicBezTo>
                    <a:pt x="228" y="261"/>
                    <a:pt x="170" y="328"/>
                    <a:pt x="93" y="341"/>
                  </a:cubicBezTo>
                  <a:cubicBezTo>
                    <a:pt x="150" y="310"/>
                    <a:pt x="189" y="250"/>
                    <a:pt x="189" y="181"/>
                  </a:cubicBezTo>
                  <a:close/>
                  <a:moveTo>
                    <a:pt x="207" y="341"/>
                  </a:moveTo>
                  <a:cubicBezTo>
                    <a:pt x="264" y="310"/>
                    <a:pt x="304" y="250"/>
                    <a:pt x="304" y="181"/>
                  </a:cubicBezTo>
                  <a:cubicBezTo>
                    <a:pt x="304" y="112"/>
                    <a:pt x="264" y="51"/>
                    <a:pt x="207" y="21"/>
                  </a:cubicBezTo>
                  <a:cubicBezTo>
                    <a:pt x="284" y="34"/>
                    <a:pt x="342" y="101"/>
                    <a:pt x="342" y="181"/>
                  </a:cubicBezTo>
                  <a:cubicBezTo>
                    <a:pt x="342" y="261"/>
                    <a:pt x="284" y="328"/>
                    <a:pt x="207"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328114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Lst>
  <p:hf hdr="0" dt="0"/>
  <p:txStyles>
    <p:titleStyle>
      <a:lvl1pPr algn="l" defTabSz="914400" rtl="0" eaLnBrk="1" latinLnBrk="0" hangingPunct="1">
        <a:lnSpc>
          <a:spcPct val="90000"/>
        </a:lnSpc>
        <a:spcBef>
          <a:spcPct val="0"/>
        </a:spcBef>
        <a:buNone/>
        <a:defRPr sz="2800" b="1" kern="1200">
          <a:solidFill>
            <a:schemeClr val="tx2"/>
          </a:solidFill>
          <a:latin typeface="+mn-lt"/>
          <a:ea typeface="+mj-ea"/>
          <a:cs typeface="+mj-cs"/>
        </a:defRPr>
      </a:lvl1pPr>
    </p:titleStyle>
    <p:bodyStyle>
      <a:lvl1pPr marL="182563" indent="-182563" algn="l" defTabSz="914400" rtl="0" eaLnBrk="1" latinLnBrk="0" hangingPunct="1">
        <a:lnSpc>
          <a:spcPct val="90000"/>
        </a:lnSpc>
        <a:spcBef>
          <a:spcPts val="1000"/>
        </a:spcBef>
        <a:buClrTx/>
        <a:buFont typeface="Arial" panose="020B0604020202020204" pitchFamily="34" charset="0"/>
        <a:buChar char="•"/>
        <a:defRPr sz="1600" kern="1200">
          <a:solidFill>
            <a:schemeClr val="tx2"/>
          </a:solidFill>
          <a:latin typeface="+mn-lt"/>
          <a:ea typeface="+mn-ea"/>
          <a:cs typeface="+mn-cs"/>
        </a:defRPr>
      </a:lvl1pPr>
      <a:lvl2pPr marL="358775" indent="-177800" algn="l" defTabSz="914400" rtl="0" eaLnBrk="1" latinLnBrk="0" hangingPunct="1">
        <a:lnSpc>
          <a:spcPct val="90000"/>
        </a:lnSpc>
        <a:spcBef>
          <a:spcPts val="500"/>
        </a:spcBef>
        <a:buClrTx/>
        <a:buFont typeface="Arial" panose="020B0604020202020204" pitchFamily="34" charset="0"/>
        <a:buChar char="•"/>
        <a:defRPr sz="1400" kern="1200">
          <a:solidFill>
            <a:schemeClr val="tx2"/>
          </a:solidFill>
          <a:latin typeface="+mn-lt"/>
          <a:ea typeface="+mn-ea"/>
          <a:cs typeface="+mn-cs"/>
        </a:defRPr>
      </a:lvl2pPr>
      <a:lvl3pPr marL="541338" indent="-182563" algn="l" defTabSz="914400" rtl="0" eaLnBrk="1" latinLnBrk="0" hangingPunct="1">
        <a:lnSpc>
          <a:spcPct val="90000"/>
        </a:lnSpc>
        <a:spcBef>
          <a:spcPts val="500"/>
        </a:spcBef>
        <a:buClrTx/>
        <a:buFont typeface="Arial" panose="020B0604020202020204" pitchFamily="34" charset="0"/>
        <a:buChar char="•"/>
        <a:defRPr sz="1200" kern="1200">
          <a:solidFill>
            <a:schemeClr val="tx2"/>
          </a:solidFill>
          <a:latin typeface="+mn-lt"/>
          <a:ea typeface="+mn-ea"/>
          <a:cs typeface="+mn-cs"/>
        </a:defRPr>
      </a:lvl3pPr>
      <a:lvl4pPr marL="717550" indent="-176213" algn="l" defTabSz="914400" rtl="0" eaLnBrk="1" latinLnBrk="0" hangingPunct="1">
        <a:lnSpc>
          <a:spcPct val="90000"/>
        </a:lnSpc>
        <a:spcBef>
          <a:spcPts val="500"/>
        </a:spcBef>
        <a:buClrTx/>
        <a:buFont typeface="Arial" panose="020B060402020202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orient="horz" pos="278">
          <p15:clr>
            <a:srgbClr val="F26B43"/>
          </p15:clr>
        </p15:guide>
        <p15:guide id="3" orient="horz" pos="618">
          <p15:clr>
            <a:srgbClr val="F26B43"/>
          </p15:clr>
        </p15:guide>
        <p15:guide id="4" orient="horz" pos="3884">
          <p15:clr>
            <a:srgbClr val="F26B43"/>
          </p15:clr>
        </p15:guide>
        <p15:guide id="7" pos="302">
          <p15:clr>
            <a:srgbClr val="F26B43"/>
          </p15:clr>
        </p15:guide>
        <p15:guide id="8" pos="7378">
          <p15:clr>
            <a:srgbClr val="F26B43"/>
          </p15:clr>
        </p15:guide>
        <p15:guide id="9" orient="horz" pos="4178">
          <p15:clr>
            <a:srgbClr val="F26B43"/>
          </p15:clr>
        </p15:guide>
        <p15:guide id="10"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slideLayout" Target="../slideLayouts/slideLayout1.xml"/><Relationship Id="rId7" Type="http://schemas.openxmlformats.org/officeDocument/2006/relationships/image" Target="../media/image17.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1.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2.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4.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796505" y="2065628"/>
            <a:ext cx="10355713" cy="2109520"/>
          </a:xfrm>
        </p:spPr>
        <p:txBody>
          <a:bodyPr/>
          <a:lstStyle/>
          <a:p>
            <a:r>
              <a:rPr lang="en-US" dirty="0"/>
              <a:t>Aluminum Recycling  </a:t>
            </a:r>
            <a:br>
              <a:rPr lang="en-US" dirty="0"/>
            </a:br>
            <a:r>
              <a:rPr lang="en-US" sz="2800" dirty="0"/>
              <a:t> </a:t>
            </a:r>
            <a:br>
              <a:rPr lang="en-US" sz="3600" dirty="0"/>
            </a:br>
            <a:r>
              <a:rPr lang="en-US" sz="2800" dirty="0"/>
              <a:t>Hydro Aluminum Cassopolis, Michigan</a:t>
            </a:r>
            <a:br>
              <a:rPr lang="en-US" sz="3600" dirty="0"/>
            </a:br>
            <a:endParaRPr lang="en-US" sz="3600" b="1" dirty="0"/>
          </a:p>
        </p:txBody>
      </p:sp>
    </p:spTree>
    <p:extLst>
      <p:ext uri="{BB962C8B-B14F-4D97-AF65-F5344CB8AC3E}">
        <p14:creationId xmlns:p14="http://schemas.microsoft.com/office/powerpoint/2010/main" val="3997987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1391920"/>
            <a:ext cx="9120218" cy="83312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sp>
        <p:nvSpPr>
          <p:cNvPr id="3" name="TextBox 2">
            <a:extLst>
              <a:ext uri="{FF2B5EF4-FFF2-40B4-BE49-F238E27FC236}">
                <a16:creationId xmlns:a16="http://schemas.microsoft.com/office/drawing/2014/main" id="{FB54BC2E-5CC6-83AD-CF8E-5AE986D39809}"/>
              </a:ext>
            </a:extLst>
          </p:cNvPr>
          <p:cNvSpPr txBox="1"/>
          <p:nvPr/>
        </p:nvSpPr>
        <p:spPr>
          <a:xfrm>
            <a:off x="2242457" y="3341914"/>
            <a:ext cx="6999514" cy="762000"/>
          </a:xfrm>
          <a:prstGeom prst="rect">
            <a:avLst/>
          </a:prstGeom>
          <a:noFill/>
        </p:spPr>
        <p:txBody>
          <a:bodyPr wrap="square" lIns="0" tIns="0" rIns="0" bIns="0" rtlCol="0">
            <a:noAutofit/>
          </a:bodyPr>
          <a:lstStyle/>
          <a:p>
            <a:pPr algn="ctr"/>
            <a:r>
              <a:rPr lang="en-US" sz="4000" dirty="0">
                <a:solidFill>
                  <a:schemeClr val="bg1">
                    <a:lumMod val="95000"/>
                  </a:schemeClr>
                </a:solidFill>
              </a:rPr>
              <a:t>Questions?</a:t>
            </a:r>
          </a:p>
        </p:txBody>
      </p:sp>
    </p:spTree>
    <p:extLst>
      <p:ext uri="{BB962C8B-B14F-4D97-AF65-F5344CB8AC3E}">
        <p14:creationId xmlns:p14="http://schemas.microsoft.com/office/powerpoint/2010/main" val="2204710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41680"/>
            <a:ext cx="9120218" cy="71120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8" name="Picture 7" descr="A large pile of metal in a warehouse&#10;&#10;AI-generated content may be incorrect.">
            <a:extLst>
              <a:ext uri="{FF2B5EF4-FFF2-40B4-BE49-F238E27FC236}">
                <a16:creationId xmlns:a16="http://schemas.microsoft.com/office/drawing/2014/main" id="{E8E26049-2C1F-89C2-AFFF-0BF39E8E1D4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600" y="2225040"/>
            <a:ext cx="5689600" cy="4267200"/>
          </a:xfrm>
          <a:prstGeom prst="rect">
            <a:avLst/>
          </a:prstGeom>
        </p:spPr>
      </p:pic>
      <p:pic>
        <p:nvPicPr>
          <p:cNvPr id="10" name="Picture 9" descr="A pile of metal scraps&#10;&#10;AI-generated content may be incorrect.">
            <a:extLst>
              <a:ext uri="{FF2B5EF4-FFF2-40B4-BE49-F238E27FC236}">
                <a16:creationId xmlns:a16="http://schemas.microsoft.com/office/drawing/2014/main" id="{9220C16E-1FB8-58F7-2704-4202CABFB75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99200" y="2225040"/>
            <a:ext cx="5608320" cy="4206240"/>
          </a:xfrm>
          <a:prstGeom prst="rect">
            <a:avLst/>
          </a:prstGeom>
        </p:spPr>
      </p:pic>
    </p:spTree>
    <p:extLst>
      <p:ext uri="{BB962C8B-B14F-4D97-AF65-F5344CB8AC3E}">
        <p14:creationId xmlns:p14="http://schemas.microsoft.com/office/powerpoint/2010/main" val="1106779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41680"/>
            <a:ext cx="9120218" cy="81280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6" name="Picture 5" descr="A large building with piles of paper&#10;&#10;AI-generated content may be incorrect.">
            <a:extLst>
              <a:ext uri="{FF2B5EF4-FFF2-40B4-BE49-F238E27FC236}">
                <a16:creationId xmlns:a16="http://schemas.microsoft.com/office/drawing/2014/main" id="{C9FA63F5-0A10-CCFB-48A6-A55AC43EE8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1760" y="1554480"/>
            <a:ext cx="6746240" cy="5059680"/>
          </a:xfrm>
          <a:prstGeom prst="rect">
            <a:avLst/>
          </a:prstGeom>
        </p:spPr>
      </p:pic>
    </p:spTree>
    <p:extLst>
      <p:ext uri="{BB962C8B-B14F-4D97-AF65-F5344CB8AC3E}">
        <p14:creationId xmlns:p14="http://schemas.microsoft.com/office/powerpoint/2010/main" val="1849604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41680"/>
            <a:ext cx="9120218" cy="75184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6" name="Picture 5" descr="A large container with metal pieces in it&#10;&#10;AI-generated content may be incorrect.">
            <a:extLst>
              <a:ext uri="{FF2B5EF4-FFF2-40B4-BE49-F238E27FC236}">
                <a16:creationId xmlns:a16="http://schemas.microsoft.com/office/drawing/2014/main" id="{9555B32D-07F8-1A9B-F053-F2E45152E8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4000" y="1635760"/>
            <a:ext cx="4064000" cy="4958080"/>
          </a:xfrm>
          <a:prstGeom prst="rect">
            <a:avLst/>
          </a:prstGeom>
        </p:spPr>
      </p:pic>
    </p:spTree>
    <p:extLst>
      <p:ext uri="{BB962C8B-B14F-4D97-AF65-F5344CB8AC3E}">
        <p14:creationId xmlns:p14="http://schemas.microsoft.com/office/powerpoint/2010/main" val="559525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82320"/>
            <a:ext cx="9120218" cy="84328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6" name="Picture 5" descr="A large machine in a factory&#10;&#10;AI-generated content may be incorrect.">
            <a:extLst>
              <a:ext uri="{FF2B5EF4-FFF2-40B4-BE49-F238E27FC236}">
                <a16:creationId xmlns:a16="http://schemas.microsoft.com/office/drawing/2014/main" id="{FF7D71A2-D4F9-7C8D-EAE0-2E42976F7E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46960" y="1701800"/>
            <a:ext cx="6908800" cy="5181600"/>
          </a:xfrm>
          <a:prstGeom prst="rect">
            <a:avLst/>
          </a:prstGeom>
        </p:spPr>
      </p:pic>
    </p:spTree>
    <p:extLst>
      <p:ext uri="{BB962C8B-B14F-4D97-AF65-F5344CB8AC3E}">
        <p14:creationId xmlns:p14="http://schemas.microsoft.com/office/powerpoint/2010/main" val="362453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62000"/>
            <a:ext cx="9120218" cy="76200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6" name="Picture 5" descr="A yellow pole with a yellow pole&#10;&#10;AI-generated content may be incorrect.">
            <a:extLst>
              <a:ext uri="{FF2B5EF4-FFF2-40B4-BE49-F238E27FC236}">
                <a16:creationId xmlns:a16="http://schemas.microsoft.com/office/drawing/2014/main" id="{355D7F62-7FE8-1AD4-715C-056106DCD9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06800" y="1524000"/>
            <a:ext cx="5344160" cy="5201920"/>
          </a:xfrm>
          <a:prstGeom prst="rect">
            <a:avLst/>
          </a:prstGeom>
        </p:spPr>
      </p:pic>
    </p:spTree>
    <p:extLst>
      <p:ext uri="{BB962C8B-B14F-4D97-AF65-F5344CB8AC3E}">
        <p14:creationId xmlns:p14="http://schemas.microsoft.com/office/powerpoint/2010/main" val="2474430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1934029" y="738777"/>
            <a:ext cx="9120218" cy="83312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3" name="Picture 2">
            <a:extLst>
              <a:ext uri="{FF2B5EF4-FFF2-40B4-BE49-F238E27FC236}">
                <a16:creationId xmlns:a16="http://schemas.microsoft.com/office/drawing/2014/main" id="{14276F05-8610-72CD-C463-27F79988A0B0}"/>
              </a:ext>
            </a:extLst>
          </p:cNvPr>
          <p:cNvPicPr>
            <a:picLocks noChangeAspect="1"/>
          </p:cNvPicPr>
          <p:nvPr/>
        </p:nvPicPr>
        <p:blipFill>
          <a:blip r:embed="rId7"/>
          <a:stretch>
            <a:fillRect/>
          </a:stretch>
        </p:blipFill>
        <p:spPr>
          <a:xfrm>
            <a:off x="2253344" y="2031153"/>
            <a:ext cx="7805056" cy="4580952"/>
          </a:xfrm>
          <a:prstGeom prst="rect">
            <a:avLst/>
          </a:prstGeom>
        </p:spPr>
      </p:pic>
    </p:spTree>
    <p:extLst>
      <p:ext uri="{BB962C8B-B14F-4D97-AF65-F5344CB8AC3E}">
        <p14:creationId xmlns:p14="http://schemas.microsoft.com/office/powerpoint/2010/main" val="2429771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741680"/>
            <a:ext cx="9120218" cy="75184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pic>
        <p:nvPicPr>
          <p:cNvPr id="6" name="Picture 5" descr="Long shot of several metal pipes&#10;&#10;AI-generated content may be incorrect.">
            <a:extLst>
              <a:ext uri="{FF2B5EF4-FFF2-40B4-BE49-F238E27FC236}">
                <a16:creationId xmlns:a16="http://schemas.microsoft.com/office/drawing/2014/main" id="{EFD9BF89-3D60-B504-32DD-10AD848188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97200" y="1808480"/>
            <a:ext cx="6502400" cy="4876800"/>
          </a:xfrm>
          <a:prstGeom prst="rect">
            <a:avLst/>
          </a:prstGeom>
        </p:spPr>
      </p:pic>
    </p:spTree>
    <p:extLst>
      <p:ext uri="{BB962C8B-B14F-4D97-AF65-F5344CB8AC3E}">
        <p14:creationId xmlns:p14="http://schemas.microsoft.com/office/powerpoint/2010/main" val="1089296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43FF35-3FEB-4CDB-8C2A-BE9ED95F1D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DE43FF35-3FEB-4CDB-8C2A-BE9ED95F1D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17538D-6020-44C3-8EF7-6F6EAD4F7067}"/>
              </a:ext>
            </a:extLst>
          </p:cNvPr>
          <p:cNvSpPr/>
          <p:nvPr>
            <p:custDataLst>
              <p:tags r:id="rId2"/>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6200" b="0" i="0" u="none" strike="noStrike" kern="1200" cap="none" spc="0" normalizeH="0" baseline="0" noProof="0" dirty="0">
              <a:ln>
                <a:noFill/>
              </a:ln>
              <a:solidFill>
                <a:srgbClr val="FFFFFF"/>
              </a:solidFill>
              <a:effectLst/>
              <a:uLnTx/>
              <a:uFillTx/>
              <a:latin typeface="Ivar Display Hydro" panose="00000500000000000000" pitchFamily="50" charset="0"/>
              <a:ea typeface="+mn-ea"/>
              <a:cs typeface="+mn-cs"/>
              <a:sym typeface="Ivar Display Hydro" panose="00000500000000000000" pitchFamily="50" charset="0"/>
            </a:endParaRPr>
          </a:p>
        </p:txBody>
      </p:sp>
      <p:sp>
        <p:nvSpPr>
          <p:cNvPr id="2" name="Title 1">
            <a:extLst>
              <a:ext uri="{FF2B5EF4-FFF2-40B4-BE49-F238E27FC236}">
                <a16:creationId xmlns:a16="http://schemas.microsoft.com/office/drawing/2014/main" id="{7391AD19-D819-4CB0-A336-68050C82CAEF}"/>
              </a:ext>
            </a:extLst>
          </p:cNvPr>
          <p:cNvSpPr>
            <a:spLocks noGrp="1"/>
          </p:cNvSpPr>
          <p:nvPr>
            <p:ph type="ctrTitle"/>
          </p:nvPr>
        </p:nvSpPr>
        <p:spPr>
          <a:xfrm>
            <a:off x="2032000" y="1391920"/>
            <a:ext cx="9120218" cy="833120"/>
          </a:xfrm>
        </p:spPr>
        <p:txBody>
          <a:bodyPr/>
          <a:lstStyle/>
          <a:p>
            <a:r>
              <a:rPr lang="en-US" dirty="0"/>
              <a:t> </a:t>
            </a:r>
            <a:r>
              <a:rPr lang="en-US" sz="4800" dirty="0"/>
              <a:t>Hydro Aluminum Cassopolis</a:t>
            </a:r>
            <a:br>
              <a:rPr lang="en-US" dirty="0"/>
            </a:br>
            <a:r>
              <a:rPr lang="en-US" sz="2800" dirty="0"/>
              <a:t> </a:t>
            </a:r>
            <a:br>
              <a:rPr lang="en-US" sz="3600" dirty="0"/>
            </a:br>
            <a:br>
              <a:rPr lang="en-US" sz="3600" dirty="0"/>
            </a:br>
            <a:endParaRPr lang="en-US" sz="3600" b="1" dirty="0"/>
          </a:p>
        </p:txBody>
      </p:sp>
      <p:sp>
        <p:nvSpPr>
          <p:cNvPr id="3" name="TextBox 2">
            <a:extLst>
              <a:ext uri="{FF2B5EF4-FFF2-40B4-BE49-F238E27FC236}">
                <a16:creationId xmlns:a16="http://schemas.microsoft.com/office/drawing/2014/main" id="{C462E586-2B1D-1FFF-C470-15AFBD1718EE}"/>
              </a:ext>
            </a:extLst>
          </p:cNvPr>
          <p:cNvSpPr txBox="1"/>
          <p:nvPr/>
        </p:nvSpPr>
        <p:spPr>
          <a:xfrm>
            <a:off x="1436914" y="2405743"/>
            <a:ext cx="9938657" cy="3429000"/>
          </a:xfrm>
          <a:prstGeom prst="rect">
            <a:avLst/>
          </a:prstGeom>
          <a:noFill/>
        </p:spPr>
        <p:txBody>
          <a:bodyPr wrap="square" lIns="0" tIns="0" rIns="0" bIns="0" rtlCol="0">
            <a:noAutofit/>
          </a:bodyPr>
          <a:lstStyle/>
          <a:p>
            <a:pPr algn="l"/>
            <a:r>
              <a:rPr lang="en-US" sz="1600" dirty="0">
                <a:solidFill>
                  <a:srgbClr val="FFFF00"/>
                </a:solidFill>
              </a:rPr>
              <a:t>  </a:t>
            </a:r>
            <a:r>
              <a:rPr lang="en-US" sz="1600" b="1" dirty="0">
                <a:solidFill>
                  <a:srgbClr val="FFFF00"/>
                </a:solidFill>
              </a:rPr>
              <a:t>Approximately 25% of the material we process is ‘post consumer scrap’. This aluminum had a useful purpose and now at it’s end of life. We purchase this scrap and divert it from </a:t>
            </a:r>
            <a:r>
              <a:rPr lang="en-US" sz="1600" b="1">
                <a:solidFill>
                  <a:srgbClr val="FFFF00"/>
                </a:solidFill>
              </a:rPr>
              <a:t>a landfill to </a:t>
            </a:r>
            <a:r>
              <a:rPr lang="en-US" sz="1600" b="1" dirty="0">
                <a:solidFill>
                  <a:srgbClr val="FFFF00"/>
                </a:solidFill>
              </a:rPr>
              <a:t>be used again.</a:t>
            </a:r>
          </a:p>
          <a:p>
            <a:pPr algn="l"/>
            <a:endParaRPr lang="en-US" sz="1600" b="1" dirty="0">
              <a:solidFill>
                <a:srgbClr val="FFFF00"/>
              </a:solidFill>
            </a:endParaRPr>
          </a:p>
          <a:p>
            <a:pPr algn="l"/>
            <a:r>
              <a:rPr lang="en-US" sz="1600" b="1" dirty="0">
                <a:solidFill>
                  <a:srgbClr val="FFFF00"/>
                </a:solidFill>
              </a:rPr>
              <a:t> Another large percentage of our material is aluminum that becomes scrap in our clients manufacturing processes. They purchase our aluminum, and in the manufacturing of their product a certain percent becomes scrap, that scrap comes back to us and we recycle it.   </a:t>
            </a:r>
          </a:p>
          <a:p>
            <a:pPr algn="l"/>
            <a:endParaRPr lang="en-US" sz="1600" b="1" dirty="0">
              <a:solidFill>
                <a:srgbClr val="FFFF00"/>
              </a:solidFill>
            </a:endParaRPr>
          </a:p>
          <a:p>
            <a:pPr algn="l"/>
            <a:r>
              <a:rPr lang="en-US" sz="1600" b="1" dirty="0">
                <a:solidFill>
                  <a:srgbClr val="FFFF00"/>
                </a:solidFill>
              </a:rPr>
              <a:t> Scrap dealers purchase aluminum from industrial accounts and in turn sell the aluminum to Hydro.</a:t>
            </a:r>
          </a:p>
          <a:p>
            <a:pPr algn="l"/>
            <a:endParaRPr lang="en-US" sz="1600" b="1" dirty="0">
              <a:solidFill>
                <a:srgbClr val="FFFF00"/>
              </a:solidFill>
            </a:endParaRPr>
          </a:p>
          <a:p>
            <a:pPr algn="l"/>
            <a:r>
              <a:rPr lang="en-US" sz="1600" b="1" dirty="0">
                <a:solidFill>
                  <a:srgbClr val="FFFF00"/>
                </a:solidFill>
              </a:rPr>
              <a:t> We acquire approximately 18 to 19 million pounds of aluminum a month and we produce approximately 14 to 15 million pounds per month.</a:t>
            </a:r>
          </a:p>
          <a:p>
            <a:pPr algn="l"/>
            <a:endParaRPr lang="en-US" sz="1600" b="1" dirty="0">
              <a:solidFill>
                <a:srgbClr val="FFFF00"/>
              </a:solidFill>
            </a:endParaRPr>
          </a:p>
          <a:p>
            <a:pPr algn="l"/>
            <a:r>
              <a:rPr lang="en-US" sz="1600" b="1" dirty="0">
                <a:solidFill>
                  <a:srgbClr val="FFFF00"/>
                </a:solidFill>
              </a:rPr>
              <a:t> Our sister facility's in Kentucky and Texas produce relatively similar quantities following a very similar process as Hydro Cassopolis.</a:t>
            </a:r>
            <a:endParaRPr lang="en-US" sz="1600" b="1" dirty="0">
              <a:solidFill>
                <a:schemeClr val="tx2"/>
              </a:solidFill>
            </a:endParaRPr>
          </a:p>
        </p:txBody>
      </p:sp>
    </p:spTree>
    <p:extLst>
      <p:ext uri="{BB962C8B-B14F-4D97-AF65-F5344CB8AC3E}">
        <p14:creationId xmlns:p14="http://schemas.microsoft.com/office/powerpoint/2010/main" val="4104313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D4oSD4ESSuXdsxyDFGO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ydro Theme">
  <a:themeElements>
    <a:clrScheme name="Hydro 2020 new palette">
      <a:dk1>
        <a:srgbClr val="000000"/>
      </a:dk1>
      <a:lt1>
        <a:srgbClr val="FFFFFF"/>
      </a:lt1>
      <a:dk2>
        <a:srgbClr val="444D55"/>
      </a:dk2>
      <a:lt2>
        <a:srgbClr val="8C8C8C"/>
      </a:lt2>
      <a:accent1>
        <a:srgbClr val="444D55"/>
      </a:accent1>
      <a:accent2>
        <a:srgbClr val="8A98A2"/>
      </a:accent2>
      <a:accent3>
        <a:srgbClr val="43807A"/>
      </a:accent3>
      <a:accent4>
        <a:srgbClr val="AF9E8B"/>
      </a:accent4>
      <a:accent5>
        <a:srgbClr val="784867"/>
      </a:accent5>
      <a:accent6>
        <a:srgbClr val="B95946"/>
      </a:accent6>
      <a:hlink>
        <a:srgbClr val="768692"/>
      </a:hlink>
      <a:folHlink>
        <a:srgbClr val="444D55"/>
      </a:folHlink>
    </a:clrScheme>
    <a:fontScheme name="Hydro">
      <a:majorFont>
        <a:latin typeface="Ivar Display Hyd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20000"/>
            <a:lumOff val="80000"/>
          </a:schemeClr>
        </a:solidFill>
        <a:ln>
          <a:noFill/>
        </a:ln>
      </a:spPr>
      <a:bodyPr rtlCol="0" anchor="ctr"/>
      <a:lstStyle>
        <a:defPPr algn="ctr">
          <a:defRPr sz="16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Hydro - Standard.potx" id="{6C800DC0-4A3F-43AE-B09C-F83BDB4F9E34}" vid="{31C4CBA7-9E61-4A5F-AC5A-4A29719E9267}"/>
    </a:ext>
  </a:extLst>
</a:theme>
</file>

<file path=ppt/theme/theme2.xml><?xml version="1.0" encoding="utf-8"?>
<a:theme xmlns:a="http://schemas.openxmlformats.org/drawingml/2006/main" name="1_Hydro Theme">
  <a:themeElements>
    <a:clrScheme name="Hydro 2018">
      <a:dk1>
        <a:srgbClr val="000000"/>
      </a:dk1>
      <a:lt1>
        <a:srgbClr val="FFFFFF"/>
      </a:lt1>
      <a:dk2>
        <a:srgbClr val="444D55"/>
      </a:dk2>
      <a:lt2>
        <a:srgbClr val="8C8C8C"/>
      </a:lt2>
      <a:accent1>
        <a:srgbClr val="444D55"/>
      </a:accent1>
      <a:accent2>
        <a:srgbClr val="768692"/>
      </a:accent2>
      <a:accent3>
        <a:srgbClr val="43807A"/>
      </a:accent3>
      <a:accent4>
        <a:srgbClr val="C5B9AC"/>
      </a:accent4>
      <a:accent5>
        <a:srgbClr val="4A3041"/>
      </a:accent5>
      <a:accent6>
        <a:srgbClr val="B95946"/>
      </a:accent6>
      <a:hlink>
        <a:srgbClr val="768692"/>
      </a:hlink>
      <a:folHlink>
        <a:srgbClr val="444D55"/>
      </a:folHlink>
    </a:clrScheme>
    <a:fontScheme name="Hydro 2018">
      <a:majorFont>
        <a:latin typeface="Ivar Display Hyd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solidFill>
              <a:schemeClr val="tx2"/>
            </a:solidFill>
          </a:defRPr>
        </a:defPPr>
      </a:lstStyle>
    </a:txDef>
  </a:objectDefaults>
  <a:extraClrSchemeLst/>
  <a:extLst>
    <a:ext uri="{05A4C25C-085E-4340-85A3-A5531E510DB2}">
      <thm15:themeFamily xmlns:thm15="http://schemas.microsoft.com/office/thememl/2012/main" name="Hydro 2018 template with content" id="{8401F904-BEAA-4602-B952-65968AFACB1A}" vid="{9E3A65F9-A881-4301-8A5F-CB2996BDE7C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5723e42-73ba-4cf6-9ce0-3b4295623b3c" xsi:nil="true"/>
    <lcf76f155ced4ddcb4097134ff3c332f xmlns="b859ae34-ed48-490f-8232-34a8a15ea34b">
      <Terms xmlns="http://schemas.microsoft.com/office/infopath/2007/PartnerControls"/>
    </lcf76f155ced4ddcb4097134ff3c332f>
    <DocumentCategory xmlns="e7640078-2807-4792-8712-763d4cb5898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1DE6D7EB6886499C6F3C2A4AED7B81" ma:contentTypeVersion="17" ma:contentTypeDescription="Create a new document." ma:contentTypeScope="" ma:versionID="729ddaf2407b4ef256f5364e353eeef2">
  <xsd:schema xmlns:xsd="http://www.w3.org/2001/XMLSchema" xmlns:xs="http://www.w3.org/2001/XMLSchema" xmlns:p="http://schemas.microsoft.com/office/2006/metadata/properties" xmlns:ns2="e7640078-2807-4792-8712-763d4cb58983" xmlns:ns3="b859ae34-ed48-490f-8232-34a8a15ea34b" xmlns:ns4="e5723e42-73ba-4cf6-9ce0-3b4295623b3c" targetNamespace="http://schemas.microsoft.com/office/2006/metadata/properties" ma:root="true" ma:fieldsID="f866ff568e99d50a206a7e512e9e1524" ns2:_="" ns3:_="" ns4:_="">
    <xsd:import namespace="e7640078-2807-4792-8712-763d4cb58983"/>
    <xsd:import namespace="b859ae34-ed48-490f-8232-34a8a15ea34b"/>
    <xsd:import namespace="e5723e42-73ba-4cf6-9ce0-3b4295623b3c"/>
    <xsd:element name="properties">
      <xsd:complexType>
        <xsd:sequence>
          <xsd:element name="documentManagement">
            <xsd:complexType>
              <xsd:all>
                <xsd:element ref="ns2:DocumentCategory" minOccurs="0"/>
                <xsd:element ref="ns3:MediaServiceMetadata" minOccurs="0"/>
                <xsd:element ref="ns3:MediaServiceFastMetadata" minOccurs="0"/>
                <xsd:element ref="ns4:SharedWithUsers" minOccurs="0"/>
                <xsd:element ref="ns4:SharedWithDetails" minOccurs="0"/>
                <xsd:element ref="ns3:MediaLengthInSeconds" minOccurs="0"/>
                <xsd:element ref="ns3:MediaServiceDateTaken" minOccurs="0"/>
                <xsd:element ref="ns3:lcf76f155ced4ddcb4097134ff3c332f" minOccurs="0"/>
                <xsd:element ref="ns4:TaxCatchAll" minOccurs="0"/>
                <xsd:element ref="ns3:MediaServiceLocation"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640078-2807-4792-8712-763d4cb58983" elementFormDefault="qualified">
    <xsd:import namespace="http://schemas.microsoft.com/office/2006/documentManagement/types"/>
    <xsd:import namespace="http://schemas.microsoft.com/office/infopath/2007/PartnerControls"/>
    <xsd:element name="DocumentCategory" ma:index="8" nillable="true" ma:displayName="Document category" ma:format="Dropdown" ma:internalName="DocumentCategory">
      <xsd:simpleType>
        <xsd:restriction base="dms:Choice">
          <xsd:enumeration value="To be decided by Site Owner(1)"/>
          <xsd:enumeration value="To be decided by Site Owner(2)"/>
          <xsd:enumeration value="To be decided by Site Owner(3)"/>
        </xsd:restriction>
      </xsd:simpleType>
    </xsd:element>
  </xsd:schema>
  <xsd:schema xmlns:xsd="http://www.w3.org/2001/XMLSchema" xmlns:xs="http://www.w3.org/2001/XMLSchema" xmlns:dms="http://schemas.microsoft.com/office/2006/documentManagement/types" xmlns:pc="http://schemas.microsoft.com/office/infopath/2007/PartnerControls" targetNamespace="b859ae34-ed48-490f-8232-34a8a15ea34b"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6f859b6c-e253-4ff5-902d-db96b2e7405e" ma:termSetId="09814cd3-568e-fe90-9814-8d621ff8fb84" ma:anchorId="fba54fb3-c3e1-fe81-a776-ca4b69148c4d" ma:open="true" ma:isKeyword="false">
      <xsd:complexType>
        <xsd:sequence>
          <xsd:element ref="pc:Terms" minOccurs="0" maxOccurs="1"/>
        </xsd:sequence>
      </xsd:complex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5723e42-73ba-4cf6-9ce0-3b4295623b3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eb4d8c23-9176-4bb0-9e06-01ba3c2b6f01}" ma:internalName="TaxCatchAll" ma:showField="CatchAllData" ma:web="e5723e42-73ba-4cf6-9ce0-3b4295623b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838EA9-D0E8-455D-B6F1-6FB62AB0F6A0}">
  <ds:schemaRefs>
    <ds:schemaRef ds:uri="http://purl.org/dc/terms/"/>
    <ds:schemaRef ds:uri="http://schemas.microsoft.com/office/2006/metadata/properties"/>
    <ds:schemaRef ds:uri="b859ae34-ed48-490f-8232-34a8a15ea34b"/>
    <ds:schemaRef ds:uri="http://purl.org/dc/dcmitype/"/>
    <ds:schemaRef ds:uri="e7640078-2807-4792-8712-763d4cb58983"/>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e5723e42-73ba-4cf6-9ce0-3b4295623b3c"/>
    <ds:schemaRef ds:uri="http://www.w3.org/XML/1998/namespace"/>
  </ds:schemaRefs>
</ds:datastoreItem>
</file>

<file path=customXml/itemProps2.xml><?xml version="1.0" encoding="utf-8"?>
<ds:datastoreItem xmlns:ds="http://schemas.openxmlformats.org/officeDocument/2006/customXml" ds:itemID="{AD5B6E8C-9AE7-4D75-9864-096C1907B4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640078-2807-4792-8712-763d4cb58983"/>
    <ds:schemaRef ds:uri="b859ae34-ed48-490f-8232-34a8a15ea34b"/>
    <ds:schemaRef ds:uri="e5723e42-73ba-4cf6-9ce0-3b4295623b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731F4D1-CF19-4CA9-9423-835B1069DA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19</TotalTime>
  <Words>436</Words>
  <Application>Microsoft Office PowerPoint</Application>
  <PresentationFormat>Widescreen</PresentationFormat>
  <Paragraphs>37</Paragraphs>
  <Slides>10</Slides>
  <Notes>1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Ivar Display Hydro</vt:lpstr>
      <vt:lpstr>Hydro Theme</vt:lpstr>
      <vt:lpstr>1_Hydro Theme</vt:lpstr>
      <vt:lpstr>think-cell Slide</vt:lpstr>
      <vt:lpstr>Aluminum Recycling     Hydro Aluminum Cassopolis, Michigan </vt:lpstr>
      <vt:lpstr> Hydro Aluminum Cassopolis    </vt:lpstr>
      <vt:lpstr> Hydro Aluminum Cassopolis    </vt:lpstr>
      <vt:lpstr> Hydro Aluminum Cassopolis    </vt:lpstr>
      <vt:lpstr> Hydro Aluminum Cassopolis    </vt:lpstr>
      <vt:lpstr> Hydro Aluminum Cassopolis    </vt:lpstr>
      <vt:lpstr> Hydro Aluminum Cassopolis    </vt:lpstr>
      <vt:lpstr> Hydro Aluminum Cassopolis    </vt:lpstr>
      <vt:lpstr> Hydro Aluminum Cassopolis    </vt:lpstr>
      <vt:lpstr> Hydro Aluminum Cassopoli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P PRH 1   (Lockout-Tagout)</dc:title>
  <dc:creator>Sheila Bergen</dc:creator>
  <cp:lastModifiedBy>Sheila Bergen</cp:lastModifiedBy>
  <cp:revision>5</cp:revision>
  <cp:lastPrinted>2025-04-01T18:52:33Z</cp:lastPrinted>
  <dcterms:created xsi:type="dcterms:W3CDTF">2024-11-20T20:46:05Z</dcterms:created>
  <dcterms:modified xsi:type="dcterms:W3CDTF">2025-05-14T11:2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1DE6D7EB6886499C6F3C2A4AED7B81</vt:lpwstr>
  </property>
  <property fmtid="{D5CDD505-2E9C-101B-9397-08002B2CF9AE}" pid="3" name="MediaServiceImageTags">
    <vt:lpwstr/>
  </property>
  <property fmtid="{D5CDD505-2E9C-101B-9397-08002B2CF9AE}" pid="4" name="MSIP_Label_a4a58698-f344-4198-ab37-f250df3982dd_Enabled">
    <vt:lpwstr>true</vt:lpwstr>
  </property>
  <property fmtid="{D5CDD505-2E9C-101B-9397-08002B2CF9AE}" pid="5" name="MSIP_Label_a4a58698-f344-4198-ab37-f250df3982dd_SetDate">
    <vt:lpwstr>2025-02-10T14:23:11Z</vt:lpwstr>
  </property>
  <property fmtid="{D5CDD505-2E9C-101B-9397-08002B2CF9AE}" pid="6" name="MSIP_Label_a4a58698-f344-4198-ab37-f250df3982dd_Method">
    <vt:lpwstr>Standard</vt:lpwstr>
  </property>
  <property fmtid="{D5CDD505-2E9C-101B-9397-08002B2CF9AE}" pid="7" name="MSIP_Label_a4a58698-f344-4198-ab37-f250df3982dd_Name">
    <vt:lpwstr>GLB Internal</vt:lpwstr>
  </property>
  <property fmtid="{D5CDD505-2E9C-101B-9397-08002B2CF9AE}" pid="8" name="MSIP_Label_a4a58698-f344-4198-ab37-f250df3982dd_SiteId">
    <vt:lpwstr>bc1d8991-4a28-4552-abc1-ace7ae108274</vt:lpwstr>
  </property>
  <property fmtid="{D5CDD505-2E9C-101B-9397-08002B2CF9AE}" pid="9" name="MSIP_Label_a4a58698-f344-4198-ab37-f250df3982dd_ActionId">
    <vt:lpwstr>33eb6b1d-cbaa-41dc-b930-8b6729c398f8</vt:lpwstr>
  </property>
  <property fmtid="{D5CDD505-2E9C-101B-9397-08002B2CF9AE}" pid="10" name="MSIP_Label_a4a58698-f344-4198-ab37-f250df3982dd_ContentBits">
    <vt:lpwstr>0</vt:lpwstr>
  </property>
</Properties>
</file>